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275" r:id="rId5"/>
    <p:sldId id="279" r:id="rId6"/>
    <p:sldId id="278" r:id="rId7"/>
    <p:sldId id="280" r:id="rId8"/>
  </p:sldIdLst>
  <p:sldSz cx="9144000" cy="6858000" type="screen4x3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725">
          <p15:clr>
            <a:srgbClr val="A4A3A4"/>
          </p15:clr>
        </p15:guide>
        <p15:guide id="2" orient="horz" pos="3786">
          <p15:clr>
            <a:srgbClr val="A4A3A4"/>
          </p15:clr>
        </p15:guide>
        <p15:guide id="3" orient="horz" pos="1468">
          <p15:clr>
            <a:srgbClr val="A4A3A4"/>
          </p15:clr>
        </p15:guide>
        <p15:guide id="4" pos="477">
          <p15:clr>
            <a:srgbClr val="A4A3A4"/>
          </p15:clr>
        </p15:guide>
        <p15:guide id="5" pos="553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inderup, Astrid" initials="FA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browse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855"/>
    <a:srgbClr val="ECEF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87" autoAdjust="0"/>
    <p:restoredTop sz="99942" autoAdjust="0"/>
  </p:normalViewPr>
  <p:slideViewPr>
    <p:cSldViewPr snapToGrid="0" showGuides="1">
      <p:cViewPr>
        <p:scale>
          <a:sx n="70" d="100"/>
          <a:sy n="70" d="100"/>
        </p:scale>
        <p:origin x="-318" y="-3618"/>
      </p:cViewPr>
      <p:guideLst>
        <p:guide orient="horz" pos="725"/>
        <p:guide orient="horz" pos="3786"/>
        <p:guide orient="horz" pos="1468"/>
        <p:guide pos="477"/>
        <p:guide pos="5535"/>
      </p:guideLst>
    </p:cSldViewPr>
  </p:slideViewPr>
  <p:outlineViewPr>
    <p:cViewPr>
      <p:scale>
        <a:sx n="33" d="100"/>
        <a:sy n="33" d="100"/>
      </p:scale>
      <p:origin x="0" y="580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389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12/11/2020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1386E511-D742-4EFE-90B5-C9FC42762E0F}" type="datetimeFigureOut">
              <a:rPr lang="en-GB" smtClean="0"/>
              <a:pPr/>
              <a:t>12/11/2020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A16CFAD1-D197-4A88-B173-A6412E995EE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xmlns="" id="{A9A3F990-A1E2-45D7-BB03-B5F658ACB1D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6858000"/>
          </a:xfrm>
        </p:spPr>
        <p:txBody>
          <a:bodyPr tIns="720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 dirty="0"/>
              <a:t>Klik på ikonet for at tilføje et billed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51374" y="4233734"/>
            <a:ext cx="8133851" cy="580800"/>
          </a:xfrm>
        </p:spPr>
        <p:txBody>
          <a:bodyPr wrap="square" anchor="b">
            <a:spAutoFit/>
          </a:bodyPr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en ti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91585" y="4905538"/>
            <a:ext cx="3240000" cy="914401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1pPr>
            <a:lvl2pPr marL="0" indent="0" algn="l">
              <a:lnSpc>
                <a:spcPct val="110000"/>
              </a:lnSpc>
              <a:buFont typeface="Arial" panose="020B0604020202020204" pitchFamily="34" charset="0"/>
              <a:buNone/>
              <a:defRPr sz="1500"/>
            </a:lvl2pPr>
            <a:lvl3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da-DK" dirty="0"/>
              <a:t>Klik, og tilføj undertitel</a:t>
            </a:r>
          </a:p>
        </p:txBody>
      </p:sp>
      <p:sp>
        <p:nvSpPr>
          <p:cNvPr id="20" name="Bottom box">
            <a:extLst>
              <a:ext uri="{FF2B5EF4-FFF2-40B4-BE49-F238E27FC236}">
                <a16:creationId xmlns:a16="http://schemas.microsoft.com/office/drawing/2014/main" xmlns="" id="{CF54AAEE-85E1-4F0A-A35B-41D12ECDD6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200" y="5922000"/>
            <a:ext cx="7776000" cy="75600"/>
          </a:xfrm>
          <a:solidFill>
            <a:srgbClr val="002855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  <a:lvl2pPr marL="459450" indent="-171450">
              <a:buFont typeface="Arial" panose="020B0604020202020204" pitchFamily="34" charset="0"/>
              <a:buChar char="•"/>
              <a:defRPr sz="100"/>
            </a:lvl2pPr>
            <a:lvl3pPr marL="747450" indent="-171450">
              <a:buFont typeface="Arial" panose="020B0604020202020204" pitchFamily="34" charset="0"/>
              <a:buChar char="•"/>
              <a:defRPr sz="100"/>
            </a:lvl3pPr>
            <a:lvl4pPr marL="747450" indent="-171450">
              <a:buFont typeface="Arial" panose="020B0604020202020204" pitchFamily="34" charset="0"/>
              <a:buChar char="•"/>
              <a:defRPr sz="100"/>
            </a:lvl4pPr>
            <a:lvl5pPr marL="747450" indent="-171450">
              <a:buFont typeface="Arial" panose="020B0604020202020204" pitchFamily="34" charset="0"/>
              <a:buChar char="•"/>
              <a:defRPr sz="100"/>
            </a:lvl5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5" name="Tjenestebrug">
            <a:extLst>
              <a:ext uri="{FF2B5EF4-FFF2-40B4-BE49-F238E27FC236}">
                <a16:creationId xmlns:a16="http://schemas.microsoft.com/office/drawing/2014/main" xmlns="" id="{CD2B20FA-ADBB-4D33-AFED-F8303AF9C3F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29800" y="113146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7" name="Afklassificeret">
            <a:extLst>
              <a:ext uri="{FF2B5EF4-FFF2-40B4-BE49-F238E27FC236}">
                <a16:creationId xmlns:a16="http://schemas.microsoft.com/office/drawing/2014/main" xmlns="" id="{152425A2-9CB0-4B0A-9737-6DBAAA77CA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29801" y="27720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9" name="Brug">
            <a:extLst>
              <a:ext uri="{FF2B5EF4-FFF2-40B4-BE49-F238E27FC236}">
                <a16:creationId xmlns:a16="http://schemas.microsoft.com/office/drawing/2014/main" xmlns="" id="{40728055-BC56-49F1-96B1-2EE6C1ABCDB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29800" y="389808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7" name="Tjenestebrug">
            <a:extLst>
              <a:ext uri="{FF2B5EF4-FFF2-40B4-BE49-F238E27FC236}">
                <a16:creationId xmlns:a16="http://schemas.microsoft.com/office/drawing/2014/main" xmlns="" id="{D60F0DFC-5755-429C-89E2-226401F6A4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29799" y="6282641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9" name="Afklassificeret">
            <a:extLst>
              <a:ext uri="{FF2B5EF4-FFF2-40B4-BE49-F238E27FC236}">
                <a16:creationId xmlns:a16="http://schemas.microsoft.com/office/drawing/2014/main" xmlns="" id="{D27E2981-8B3E-4E52-BA09-D58599B5ED4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29800" y="644040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1" name="Brug">
            <a:extLst>
              <a:ext uri="{FF2B5EF4-FFF2-40B4-BE49-F238E27FC236}">
                <a16:creationId xmlns:a16="http://schemas.microsoft.com/office/drawing/2014/main" xmlns="" id="{F8BD78A7-63D1-4BC0-B68C-68DAE6291C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29799" y="6552000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xmlns="" id="{7A1007AC-71D9-4C3B-BE94-4486EE7499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292991A-28B5-4920-BBFE-B7C226159A6E}" type="datetime2">
              <a:rPr lang="da-DK" smtClean="0"/>
              <a:pPr/>
              <a:t>12. november 2020</a:t>
            </a:fld>
            <a:endParaRPr lang="da-DK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xmlns="" id="{3C001EB5-078B-41F4-921C-9742B9FC6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xmlns="" id="{73D9D80D-E108-4E26-A9C4-A691F717C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xmlns="" id="{F90F4F34-41F7-43D8-A2F3-76A48544901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51600" y="482400"/>
            <a:ext cx="2764800" cy="601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a-DK" noProof="0" dirty="0"/>
              <a:t>Indsæt logo: Klik på ikonet eller pladsholderen, find logo, klik indsæt</a:t>
            </a:r>
          </a:p>
        </p:txBody>
      </p:sp>
    </p:spTree>
    <p:extLst>
      <p:ext uri="{BB962C8B-B14F-4D97-AF65-F5344CB8AC3E}">
        <p14:creationId xmlns:p14="http://schemas.microsoft.com/office/powerpoint/2010/main" val="270691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og tekst 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billede 5"/>
          <p:cNvSpPr>
            <a:spLocks noGrp="1"/>
          </p:cNvSpPr>
          <p:nvPr>
            <p:ph type="pic" sz="quarter" idx="24"/>
          </p:nvPr>
        </p:nvSpPr>
        <p:spPr>
          <a:xfrm>
            <a:off x="369115" y="914400"/>
            <a:ext cx="8417698" cy="4588778"/>
          </a:xfrm>
        </p:spPr>
        <p:txBody>
          <a:bodyPr rIns="0" anchor="ctr" anchorCtr="0"/>
          <a:lstStyle>
            <a:lvl1pPr marL="0" indent="0" algn="ctr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xmlns="" id="{02A36351-E6B9-4A17-B973-27131ABDF42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5650" y="3640503"/>
            <a:ext cx="2639303" cy="2363422"/>
          </a:xfrm>
          <a:solidFill>
            <a:srgbClr val="002855"/>
          </a:solidFill>
        </p:spPr>
        <p:txBody>
          <a:bodyPr lIns="288000" tIns="180000" rIns="288000" bIns="144000" anchor="b" anchorCtr="0">
            <a:spAutoFit/>
          </a:bodyPr>
          <a:lstStyle>
            <a:lvl1pPr marL="0" indent="0">
              <a:lnSpc>
                <a:spcPct val="107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bg1"/>
                </a:solidFill>
              </a:defRPr>
            </a:lvl1pPr>
            <a:lvl2pPr marL="0" indent="0">
              <a:spcBef>
                <a:spcPts val="1500"/>
              </a:spcBef>
              <a:buFont typeface="Arial" panose="020B0604020202020204" pitchFamily="34" charset="0"/>
              <a:buChar char="​"/>
              <a:defRPr sz="1000">
                <a:solidFill>
                  <a:schemeClr val="bg1"/>
                </a:solidFill>
              </a:defRPr>
            </a:lvl2pPr>
            <a:lvl3pPr marL="180000" indent="-180000">
              <a:spcBef>
                <a:spcPts val="1500"/>
              </a:spcBef>
              <a:defRPr sz="1000">
                <a:solidFill>
                  <a:schemeClr val="bg1"/>
                </a:solidFill>
              </a:defRPr>
            </a:lvl3pPr>
            <a:lvl4pPr marL="360000" indent="-180000">
              <a:spcBef>
                <a:spcPts val="1500"/>
              </a:spcBef>
              <a:defRPr sz="1000">
                <a:solidFill>
                  <a:schemeClr val="bg1"/>
                </a:solidFill>
              </a:defRPr>
            </a:lvl4pPr>
            <a:lvl5pPr marL="540000" indent="-180000">
              <a:spcBef>
                <a:spcPts val="150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4" name="Tjenestebrug">
            <a:extLst>
              <a:ext uri="{FF2B5EF4-FFF2-40B4-BE49-F238E27FC236}">
                <a16:creationId xmlns:a16="http://schemas.microsoft.com/office/drawing/2014/main" xmlns="" id="{35FE3095-6256-4962-9810-7FE06144F6C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29800" y="113146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6" name="Afklassificeret">
            <a:extLst>
              <a:ext uri="{FF2B5EF4-FFF2-40B4-BE49-F238E27FC236}">
                <a16:creationId xmlns:a16="http://schemas.microsoft.com/office/drawing/2014/main" xmlns="" id="{697ACF4C-8228-4590-A676-70732BB2AE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29801" y="27720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7" name="Brug">
            <a:extLst>
              <a:ext uri="{FF2B5EF4-FFF2-40B4-BE49-F238E27FC236}">
                <a16:creationId xmlns:a16="http://schemas.microsoft.com/office/drawing/2014/main" xmlns="" id="{394EDE27-D8F7-487C-B206-095208EA950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29800" y="389808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8" name="Tjenestebrug">
            <a:extLst>
              <a:ext uri="{FF2B5EF4-FFF2-40B4-BE49-F238E27FC236}">
                <a16:creationId xmlns:a16="http://schemas.microsoft.com/office/drawing/2014/main" xmlns="" id="{4E2DFBD9-C552-49EE-BD61-32F76BC1BC1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29799" y="6282641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9" name="Afklassificeret">
            <a:extLst>
              <a:ext uri="{FF2B5EF4-FFF2-40B4-BE49-F238E27FC236}">
                <a16:creationId xmlns:a16="http://schemas.microsoft.com/office/drawing/2014/main" xmlns="" id="{47A7FB00-BA12-423F-ADC1-A99210B376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29800" y="644040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0" name="Brug">
            <a:extLst>
              <a:ext uri="{FF2B5EF4-FFF2-40B4-BE49-F238E27FC236}">
                <a16:creationId xmlns:a16="http://schemas.microsoft.com/office/drawing/2014/main" xmlns="" id="{11D30994-1D10-4B52-B657-3D23B066C1E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29799" y="6552000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72DEAF9-D844-45A4-8B37-9D9DDF357A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0B6748A5-B04F-4A22-96BC-FFCB716199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E49E4-2702-4F1F-829B-6774A117D379}" type="datetime2">
              <a:rPr lang="da-DK" smtClean="0"/>
              <a:t>12. november 2020</a:t>
            </a:fld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5109EFA5-ED0B-494B-BD8A-E250904B9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1" name="Picture Placeholder 12">
            <a:extLst>
              <a:ext uri="{FF2B5EF4-FFF2-40B4-BE49-F238E27FC236}">
                <a16:creationId xmlns:a16="http://schemas.microsoft.com/office/drawing/2014/main" xmlns="" id="{16CAC3E7-B91D-486C-B80E-87999BDAF15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60000" y="140400"/>
            <a:ext cx="1807200" cy="3924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a-DK" noProof="0"/>
              <a:t>Indsæt logo: Klik på ikonet eller pladsholderen, find logo, klik indsæt</a:t>
            </a:r>
          </a:p>
        </p:txBody>
      </p:sp>
    </p:spTree>
    <p:extLst>
      <p:ext uri="{BB962C8B-B14F-4D97-AF65-F5344CB8AC3E}">
        <p14:creationId xmlns:p14="http://schemas.microsoft.com/office/powerpoint/2010/main" val="10932612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26" userDrawn="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en titel</a:t>
            </a:r>
          </a:p>
        </p:txBody>
      </p:sp>
      <p:sp>
        <p:nvSpPr>
          <p:cNvPr id="12" name="Tjenestebrug">
            <a:extLst>
              <a:ext uri="{FF2B5EF4-FFF2-40B4-BE49-F238E27FC236}">
                <a16:creationId xmlns:a16="http://schemas.microsoft.com/office/drawing/2014/main" xmlns="" id="{D1868055-18E6-40E8-B805-B82F14A9584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29800" y="113146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3" name="Afklassificeret">
            <a:extLst>
              <a:ext uri="{FF2B5EF4-FFF2-40B4-BE49-F238E27FC236}">
                <a16:creationId xmlns:a16="http://schemas.microsoft.com/office/drawing/2014/main" xmlns="" id="{8126867F-BD3A-45BA-96EE-6E9AE4F5EE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29801" y="27720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4" name="Brug">
            <a:extLst>
              <a:ext uri="{FF2B5EF4-FFF2-40B4-BE49-F238E27FC236}">
                <a16:creationId xmlns:a16="http://schemas.microsoft.com/office/drawing/2014/main" xmlns="" id="{4D132A4B-0CBB-44BA-AF01-4D0FCA59614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29800" y="389808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5" name="Tjenestebrug">
            <a:extLst>
              <a:ext uri="{FF2B5EF4-FFF2-40B4-BE49-F238E27FC236}">
                <a16:creationId xmlns:a16="http://schemas.microsoft.com/office/drawing/2014/main" xmlns="" id="{64E702A2-5A83-4FD2-A285-D7CF9FDB7F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29799" y="6282641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6" name="Afklassificeret">
            <a:extLst>
              <a:ext uri="{FF2B5EF4-FFF2-40B4-BE49-F238E27FC236}">
                <a16:creationId xmlns:a16="http://schemas.microsoft.com/office/drawing/2014/main" xmlns="" id="{D07E64A7-4EFA-440B-9CFF-446374F9397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29800" y="644040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7" name="Brug">
            <a:extLst>
              <a:ext uri="{FF2B5EF4-FFF2-40B4-BE49-F238E27FC236}">
                <a16:creationId xmlns:a16="http://schemas.microsoft.com/office/drawing/2014/main" xmlns="" id="{58AC4769-416E-4B49-BC1A-27A1A12456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29799" y="6552000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4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4F13A9-6177-4CBC-8E63-009B91A1E55D}" type="datetime2">
              <a:rPr lang="da-DK" smtClean="0"/>
              <a:t>12. november 2020</a:t>
            </a:fld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xmlns="" id="{4EE2AD88-667F-4325-B484-0F2A6B099CA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60000" y="140400"/>
            <a:ext cx="1807200" cy="3924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a-DK" noProof="0"/>
              <a:t>Indsæt logo: Klik på ikonet eller pladsholderen, find logo, klik indsæt</a:t>
            </a:r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jenestebrug">
            <a:extLst>
              <a:ext uri="{FF2B5EF4-FFF2-40B4-BE49-F238E27FC236}">
                <a16:creationId xmlns:a16="http://schemas.microsoft.com/office/drawing/2014/main" xmlns="" id="{2C623502-859B-4159-B411-D60558F7854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29800" y="113146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2" name="Afklassificeret">
            <a:extLst>
              <a:ext uri="{FF2B5EF4-FFF2-40B4-BE49-F238E27FC236}">
                <a16:creationId xmlns:a16="http://schemas.microsoft.com/office/drawing/2014/main" xmlns="" id="{21727F05-F0AB-404A-B6AC-16CB48E560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29801" y="27720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3" name="Brug">
            <a:extLst>
              <a:ext uri="{FF2B5EF4-FFF2-40B4-BE49-F238E27FC236}">
                <a16:creationId xmlns:a16="http://schemas.microsoft.com/office/drawing/2014/main" xmlns="" id="{8AF98D9E-CFDD-43D6-9C7B-080C222809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29800" y="389808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4" name="Tjenestebrug">
            <a:extLst>
              <a:ext uri="{FF2B5EF4-FFF2-40B4-BE49-F238E27FC236}">
                <a16:creationId xmlns:a16="http://schemas.microsoft.com/office/drawing/2014/main" xmlns="" id="{6BFDD952-889A-45E9-997E-44FE05BD43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29799" y="6282641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5" name="Afklassificeret">
            <a:extLst>
              <a:ext uri="{FF2B5EF4-FFF2-40B4-BE49-F238E27FC236}">
                <a16:creationId xmlns:a16="http://schemas.microsoft.com/office/drawing/2014/main" xmlns="" id="{1DE5D3AF-8F99-45B5-BDDC-1613CBA64A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29800" y="644040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6" name="Brug">
            <a:extLst>
              <a:ext uri="{FF2B5EF4-FFF2-40B4-BE49-F238E27FC236}">
                <a16:creationId xmlns:a16="http://schemas.microsoft.com/office/drawing/2014/main" xmlns="" id="{9D0FC4DD-6971-4A0B-92FF-837CF3D55B2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29799" y="6552000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3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2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418280-B936-4504-AFC0-69D38FFCB707}" type="datetime2">
              <a:rPr lang="da-DK" smtClean="0"/>
              <a:t>12. november 2020</a:t>
            </a:fld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xmlns="" id="{6F9DEBD0-37BC-46C9-9262-43BBB1FC893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60000" y="140400"/>
            <a:ext cx="1807200" cy="3924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a-DK" noProof="0"/>
              <a:t>Indsæt logo: Klik på ikonet eller pladsholderen, find logo, klik indsæt</a:t>
            </a:r>
          </a:p>
        </p:txBody>
      </p:sp>
    </p:spTree>
    <p:extLst>
      <p:ext uri="{BB962C8B-B14F-4D97-AF65-F5344CB8AC3E}">
        <p14:creationId xmlns:p14="http://schemas.microsoft.com/office/powerpoint/2010/main" val="2843948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Background">
            <a:extLst>
              <a:ext uri="{FF2B5EF4-FFF2-40B4-BE49-F238E27FC236}">
                <a16:creationId xmlns:a16="http://schemas.microsoft.com/office/drawing/2014/main" xmlns="" id="{E88E83CA-1644-4080-AF39-CF0AD269BFBC}"/>
              </a:ext>
            </a:extLst>
          </p:cNvPr>
          <p:cNvSpPr/>
          <p:nvPr userDrawn="1"/>
        </p:nvSpPr>
        <p:spPr>
          <a:xfrm>
            <a:off x="0" y="0"/>
            <a:ext cx="9144900" cy="6861600"/>
          </a:xfrm>
          <a:prstGeom prst="rect">
            <a:avLst/>
          </a:prstGeom>
          <a:solidFill>
            <a:srgbClr val="EC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500" noProof="0" dirty="0" err="1"/>
          </a:p>
        </p:txBody>
      </p:sp>
      <p:sp>
        <p:nvSpPr>
          <p:cNvPr id="30" name="Tjenestebrug">
            <a:extLst>
              <a:ext uri="{FF2B5EF4-FFF2-40B4-BE49-F238E27FC236}">
                <a16:creationId xmlns:a16="http://schemas.microsoft.com/office/drawing/2014/main" xmlns="" id="{109BD2B5-7217-4402-8504-4D89994143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29800" y="113146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31" name="Afklassificeret">
            <a:extLst>
              <a:ext uri="{FF2B5EF4-FFF2-40B4-BE49-F238E27FC236}">
                <a16:creationId xmlns:a16="http://schemas.microsoft.com/office/drawing/2014/main" xmlns="" id="{D3455C4F-081F-496E-8ADA-6A7B9DBB65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29801" y="27720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32" name="Brug">
            <a:extLst>
              <a:ext uri="{FF2B5EF4-FFF2-40B4-BE49-F238E27FC236}">
                <a16:creationId xmlns:a16="http://schemas.microsoft.com/office/drawing/2014/main" xmlns="" id="{38667089-B456-41F2-8F82-2C08FF7D8E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29800" y="389808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33" name="Tjenestebrug">
            <a:extLst>
              <a:ext uri="{FF2B5EF4-FFF2-40B4-BE49-F238E27FC236}">
                <a16:creationId xmlns:a16="http://schemas.microsoft.com/office/drawing/2014/main" xmlns="" id="{7A523A2A-D771-44C9-995A-1AB3E66FDB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29799" y="6282641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34" name="Afklassificeret">
            <a:extLst>
              <a:ext uri="{FF2B5EF4-FFF2-40B4-BE49-F238E27FC236}">
                <a16:creationId xmlns:a16="http://schemas.microsoft.com/office/drawing/2014/main" xmlns="" id="{D7D1BE7F-D5EB-4217-B570-3410E62B420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29800" y="644040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35" name="Brug">
            <a:extLst>
              <a:ext uri="{FF2B5EF4-FFF2-40B4-BE49-F238E27FC236}">
                <a16:creationId xmlns:a16="http://schemas.microsoft.com/office/drawing/2014/main" xmlns="" id="{1B1D9642-D9B1-4381-AE96-261B0035A5B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29799" y="6552000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xmlns="" id="{5FE718F4-5B85-4475-AF59-C5096185F8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tx1"/>
                </a:solidFill>
              </a:defRPr>
            </a:lvl1pPr>
          </a:lstStyle>
          <a:p>
            <a:fld id="{9292991A-28B5-4920-BBFE-B7C226159A6E}" type="datetime2">
              <a:rPr lang="da-DK" smtClean="0"/>
              <a:pPr/>
              <a:t>12. november 2020</a:t>
            </a:fld>
            <a:endParaRPr lang="da-DK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xmlns="" id="{D970A17F-CDAA-4728-8AEF-3791ED21CD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tx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xmlns="" id="{D5A99371-84CF-4C06-9F19-16E976C473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ED05DA44-3785-4EAE-993C-B007663116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5134" y="5597414"/>
            <a:ext cx="2160000" cy="1080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7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700"/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700"/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700"/>
            </a:lvl5pPr>
          </a:lstStyle>
          <a:p>
            <a:pPr lvl="0"/>
            <a:r>
              <a:rPr lang="da-DK"/>
              <a:t>Indsæt gadeadresse</a:t>
            </a:r>
            <a:endParaRPr lang="da-DK" dirty="0"/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xmlns="" id="{848B43CC-FFFF-4D16-835D-995828943F5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5132" y="5709741"/>
            <a:ext cx="2160002" cy="1080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7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700"/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700"/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700"/>
            </a:lvl5pPr>
          </a:lstStyle>
          <a:p>
            <a:pPr lvl="0"/>
            <a:r>
              <a:rPr lang="da-DK"/>
              <a:t>Indsæt postnummer og by</a:t>
            </a:r>
            <a:endParaRPr lang="da-DK" dirty="0"/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xmlns="" id="{957E17C1-CBD1-4B7D-9277-487BDE9D07C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5132" y="6024425"/>
            <a:ext cx="2160002" cy="1080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tabLst>
                <a:tab pos="406800" algn="l"/>
              </a:tabLst>
              <a:defRPr sz="7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7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700"/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700"/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700"/>
            </a:lvl5pPr>
          </a:lstStyle>
          <a:p>
            <a:pPr lvl="0"/>
            <a:r>
              <a:rPr lang="da-DK" dirty="0"/>
              <a:t>Indsæt telefon nummer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xmlns="" id="{8FAAB978-64C4-4477-A498-87459FD8C81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45131" y="6135614"/>
            <a:ext cx="2160003" cy="1080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tabLst>
                <a:tab pos="406800" algn="l"/>
              </a:tabLst>
              <a:defRPr sz="7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7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700"/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700"/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700"/>
            </a:lvl5pPr>
          </a:lstStyle>
          <a:p>
            <a:pPr lvl="0"/>
            <a:r>
              <a:rPr lang="da-DK"/>
              <a:t>Indsæt e-mail adresse</a:t>
            </a:r>
            <a:endParaRPr lang="da-DK" dirty="0"/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xmlns="" id="{30A01ABF-3C23-4F0B-9B11-DAB8B070386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5131" y="6243275"/>
            <a:ext cx="2160003" cy="108000"/>
          </a:xfrm>
        </p:spPr>
        <p:txBody>
          <a:bodyPr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7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700"/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700"/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700"/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700"/>
            </a:lvl5pPr>
          </a:lstStyle>
          <a:p>
            <a:pPr lvl="0"/>
            <a:r>
              <a:rPr lang="da-DK"/>
              <a:t>Indæt www-adresse</a:t>
            </a:r>
            <a:endParaRPr lang="da-DK" dirty="0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xmlns="" id="{7CDA9630-177A-4130-8265-8906AB1508B4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96800" y="5205600"/>
            <a:ext cx="1807200" cy="392400"/>
          </a:xfrm>
        </p:spPr>
        <p:txBody>
          <a:bodyPr anchor="b" anchorCtr="0"/>
          <a:lstStyle>
            <a:lvl1pPr marL="0" indent="0">
              <a:buNone/>
              <a:defRPr sz="900"/>
            </a:lvl1pPr>
          </a:lstStyle>
          <a:p>
            <a:r>
              <a:rPr lang="da-DK" noProof="0" dirty="0"/>
              <a:t>Indsæt logo: Klik på ikonet eller pladsholderen, find logo, klik indsæt</a:t>
            </a:r>
          </a:p>
        </p:txBody>
      </p:sp>
    </p:spTree>
    <p:extLst>
      <p:ext uri="{BB962C8B-B14F-4D97-AF65-F5344CB8AC3E}">
        <p14:creationId xmlns:p14="http://schemas.microsoft.com/office/powerpoint/2010/main" val="1588434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e 3"/>
          <p:cNvGrpSpPr/>
          <p:nvPr userDrawn="1"/>
        </p:nvGrpSpPr>
        <p:grpSpPr>
          <a:xfrm>
            <a:off x="2033902" y="1632077"/>
            <a:ext cx="1702952" cy="752595"/>
            <a:chOff x="2033902" y="1483643"/>
            <a:chExt cx="1702952" cy="752595"/>
          </a:xfrm>
        </p:grpSpPr>
        <p:pic>
          <p:nvPicPr>
            <p:cNvPr id="1026" name="Picture 2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33902" y="1483643"/>
              <a:ext cx="1702952" cy="7525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4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33902" y="1483643"/>
              <a:ext cx="392170" cy="1638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33" name="4 Nulsti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261353" y="1787582"/>
            <a:ext cx="597915" cy="216114"/>
          </a:xfrm>
          <a:prstGeom prst="rect">
            <a:avLst/>
          </a:prstGeom>
        </p:spPr>
      </p:pic>
      <p:sp>
        <p:nvSpPr>
          <p:cNvPr id="31" name="Text Box 2"/>
          <p:cNvSpPr txBox="1">
            <a:spLocks noChangeArrowheads="1"/>
          </p:cNvSpPr>
          <p:nvPr userDrawn="1"/>
        </p:nvSpPr>
        <p:spPr bwMode="auto">
          <a:xfrm>
            <a:off x="763414" y="4332893"/>
            <a:ext cx="1975650" cy="16773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rug tekst typografi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rug</a:t>
            </a: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TAB 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at gå frem i tekst-niveauer. Klik </a:t>
            </a: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TER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derefter </a:t>
            </a: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AB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for at skifte fra et niveau til et næs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at gå tilbage i tekst-niveauer, </a:t>
            </a:r>
            <a:b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rug </a:t>
            </a: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HIFT+TA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Ønsker du </a:t>
            </a: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kst uden bullet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slet bullet. Sæt den på igen ved at klikke på </a:t>
            </a: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ullet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knapp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ternativt kan </a:t>
            </a: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øg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g </a:t>
            </a: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mindsk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listeniveau bruges</a:t>
            </a:r>
          </a:p>
        </p:txBody>
      </p:sp>
      <p:sp>
        <p:nvSpPr>
          <p:cNvPr id="34" name="Text Box 4"/>
          <p:cNvSpPr txBox="1">
            <a:spLocks noChangeArrowheads="1"/>
          </p:cNvSpPr>
          <p:nvPr userDrawn="1"/>
        </p:nvSpPr>
        <p:spPr bwMode="auto">
          <a:xfrm>
            <a:off x="6900038" y="1634493"/>
            <a:ext cx="1753600" cy="4447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lstil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da-DK" altLang="da-DK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</a:t>
            </a:r>
            <a:r>
              <a:rPr kumimoji="0" lang="da-DK" altLang="da-DK" sz="9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lik på fanen </a:t>
            </a:r>
            <a:r>
              <a:rPr kumimoji="0" lang="da-DK" altLang="da-DK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je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da-DK" altLang="da-DK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 </a:t>
            </a:r>
            <a:r>
              <a:rPr kumimoji="0" lang="da-DK" altLang="da-DK" sz="9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ælg </a:t>
            </a:r>
            <a:r>
              <a:rPr kumimoji="0" lang="da-DK" altLang="da-DK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lstil</a:t>
            </a:r>
            <a:r>
              <a:rPr kumimoji="0" lang="da-DK" altLang="da-DK" sz="9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for at nulstille</a:t>
            </a:r>
            <a:br>
              <a:rPr kumimoji="0" lang="da-DK" altLang="da-DK" sz="9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a-DK" altLang="da-DK" sz="9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lacering, størrelse og formatering af pladsholdere til layoutets oprindelige design</a:t>
            </a:r>
            <a:endParaRPr kumimoji="0" lang="da-DK" sz="900" b="1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at justere sidenummerering, </a:t>
            </a:r>
            <a:br>
              <a:rPr kumimoji="0" lang="da-DK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a-DK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ør dette som det sidste i din præsentation, så det slår igennem på </a:t>
            </a:r>
            <a:b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le slides</a:t>
            </a:r>
            <a:endParaRPr kumimoji="0" lang="da-DK" sz="800" b="1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lik på fanen </a:t>
            </a: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sæ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 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lik </a:t>
            </a: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dehoved og Sidefod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indtast evt. tekst i sidefod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ælg </a:t>
            </a: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vend på alle 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ller </a:t>
            </a: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vend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hvis det kun skal være på et enkelt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jælpelinj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at se hjælpelinj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lik på fanen </a:t>
            </a: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s 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g sæt hak ved </a:t>
            </a: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jælpelinjer</a:t>
            </a:r>
            <a:endParaRPr kumimoji="0" lang="da-DK" altLang="da-DK" sz="8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ps: Alt + F9 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hurtig visning af hjælpelinj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a-DK" altLang="da-DK" sz="8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Text Box 3"/>
          <p:cNvSpPr txBox="1">
            <a:spLocks noChangeArrowheads="1"/>
          </p:cNvSpPr>
          <p:nvPr userDrawn="1"/>
        </p:nvSpPr>
        <p:spPr bwMode="auto">
          <a:xfrm>
            <a:off x="3982023" y="3846910"/>
            <a:ext cx="2160798" cy="216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sæt bille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å slides med billedpladsholder, </a:t>
            </a:r>
            <a:b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lik på ikonet og vælg </a:t>
            </a: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sæ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skær bille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lik </a:t>
            </a: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skær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for at ændre </a:t>
            </a:r>
            <a:b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illedets fokus/størrel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 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Ønsker du at skalere billedet, så </a:t>
            </a:r>
            <a:b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ld </a:t>
            </a: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HIFT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knappen nede, mens </a:t>
            </a:r>
            <a:b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u trækker i billedets hjørn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ps: 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vis du sletter billedet og </a:t>
            </a:r>
            <a:b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sætter et nyt, kan billedet lægge </a:t>
            </a:r>
            <a:b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g foran tekst og grafik. Hvis dette sker, højreklik på billedet og vælg </a:t>
            </a: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lacer bagest</a:t>
            </a:r>
            <a:endParaRPr kumimoji="0" lang="da-DK" sz="8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2" name="2 Ny slide"/>
          <p:cNvPicPr>
            <a:picLocks noChangeAspect="1"/>
          </p:cNvPicPr>
          <p:nvPr userDrawn="1"/>
        </p:nvPicPr>
        <p:blipFill rotWithShape="1">
          <a:blip r:embed="rId5"/>
          <a:srcRect l="2931" r="60888"/>
          <a:stretch/>
        </p:blipFill>
        <p:spPr>
          <a:xfrm>
            <a:off x="5895241" y="1840538"/>
            <a:ext cx="323170" cy="575288"/>
          </a:xfrm>
          <a:prstGeom prst="rect">
            <a:avLst/>
          </a:prstGeom>
        </p:spPr>
      </p:pic>
      <p:sp>
        <p:nvSpPr>
          <p:cNvPr id="9" name="Fast overskrift"/>
          <p:cNvSpPr txBox="1"/>
          <p:nvPr userDrawn="1"/>
        </p:nvSpPr>
        <p:spPr>
          <a:xfrm>
            <a:off x="755649" y="537447"/>
            <a:ext cx="7981155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28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(Office 2010) - Slet før anvendelse</a:t>
            </a:r>
          </a:p>
        </p:txBody>
      </p:sp>
      <p:pic>
        <p:nvPicPr>
          <p:cNvPr id="19" name="3 Layout"/>
          <p:cNvPicPr>
            <a:picLocks noChangeAspect="1"/>
          </p:cNvPicPr>
          <p:nvPr userDrawn="1"/>
        </p:nvPicPr>
        <p:blipFill rotWithShape="1">
          <a:blip r:embed="rId5"/>
          <a:srcRect l="36944" r="2272" b="69429"/>
          <a:stretch/>
        </p:blipFill>
        <p:spPr>
          <a:xfrm>
            <a:off x="5953680" y="2597904"/>
            <a:ext cx="593368" cy="192211"/>
          </a:xfrm>
          <a:prstGeom prst="rect">
            <a:avLst/>
          </a:prstGeom>
        </p:spPr>
      </p:pic>
      <p:pic>
        <p:nvPicPr>
          <p:cNvPr id="26" name="5 Insert picture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932332" y="4040005"/>
            <a:ext cx="262151" cy="256054"/>
          </a:xfrm>
          <a:prstGeom prst="rect">
            <a:avLst/>
          </a:prstGeom>
        </p:spPr>
      </p:pic>
      <p:pic>
        <p:nvPicPr>
          <p:cNvPr id="27" name="6 Crop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912964" y="4670006"/>
            <a:ext cx="337400" cy="321707"/>
          </a:xfrm>
          <a:prstGeom prst="rect">
            <a:avLst/>
          </a:prstGeom>
        </p:spPr>
      </p:pic>
      <p:pic>
        <p:nvPicPr>
          <p:cNvPr id="30" name="7 Scale picture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890669" y="5022711"/>
            <a:ext cx="359695" cy="335309"/>
          </a:xfrm>
          <a:prstGeom prst="rect">
            <a:avLst/>
          </a:prstGeom>
        </p:spPr>
      </p:pic>
      <p:pic>
        <p:nvPicPr>
          <p:cNvPr id="18" name="1 Increase decrease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630882" y="5709762"/>
            <a:ext cx="549328" cy="285228"/>
          </a:xfrm>
          <a:prstGeom prst="rect">
            <a:avLst/>
          </a:prstGeom>
        </p:spPr>
      </p:pic>
      <p:pic>
        <p:nvPicPr>
          <p:cNvPr id="2" name="Billede 1">
            <a:extLst>
              <a:ext uri="{FF2B5EF4-FFF2-40B4-BE49-F238E27FC236}">
                <a16:creationId xmlns:a16="http://schemas.microsoft.com/office/drawing/2014/main" xmlns="" id="{17A05245-804A-4B20-8BB9-31D66D06C1F2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675497" y="5475464"/>
            <a:ext cx="323170" cy="234298"/>
          </a:xfrm>
          <a:prstGeom prst="rect">
            <a:avLst/>
          </a:prstGeom>
        </p:spPr>
      </p:pic>
      <p:sp>
        <p:nvSpPr>
          <p:cNvPr id="17" name="Date Placeholder 2">
            <a:extLst>
              <a:ext uri="{FF2B5EF4-FFF2-40B4-BE49-F238E27FC236}">
                <a16:creationId xmlns:a16="http://schemas.microsoft.com/office/drawing/2014/main" xmlns="" id="{8563B61B-DE53-472A-89F5-3F477A0CD92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292991A-28B5-4920-BBFE-B7C226159A6E}" type="datetime2">
              <a:rPr lang="da-DK" smtClean="0"/>
              <a:pPr/>
              <a:t>12. november 2020</a:t>
            </a:fld>
            <a:endParaRPr lang="da-DK" dirty="0"/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xmlns="" id="{0F06369E-00A0-46D6-9D76-B9DDCECD39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xmlns="" id="{D489D928-3540-4ADF-AE19-0BCE0A0DB3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2" name="Text Box 3"/>
          <p:cNvSpPr txBox="1">
            <a:spLocks noChangeArrowheads="1"/>
          </p:cNvSpPr>
          <p:nvPr userDrawn="1"/>
        </p:nvSpPr>
        <p:spPr bwMode="auto">
          <a:xfrm>
            <a:off x="752474" y="1635573"/>
            <a:ext cx="2153071" cy="2431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ælg farveskem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</a:t>
            </a:r>
            <a:r>
              <a:rPr kumimoji="0" lang="da-DK" altLang="da-DK" sz="9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ælg fanen </a:t>
            </a:r>
            <a:r>
              <a:rPr kumimoji="0" lang="da-DK" altLang="da-DK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ig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 </a:t>
            </a:r>
            <a:r>
              <a:rPr kumimoji="0" lang="da-DK" altLang="da-DK" sz="9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ælg </a:t>
            </a:r>
            <a:r>
              <a:rPr kumimoji="0" lang="da-DK" altLang="da-DK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r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. </a:t>
            </a:r>
            <a:r>
              <a:rPr kumimoji="0" lang="da-DK" altLang="da-DK" sz="9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ælg mellem </a:t>
            </a:r>
            <a:br>
              <a:rPr kumimoji="0" lang="da-DK" altLang="da-DK" sz="9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a-DK" altLang="da-DK" sz="9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rvetema 1 – FMV (default)</a:t>
            </a:r>
            <a:br>
              <a:rPr kumimoji="0" lang="da-DK" altLang="da-DK" sz="9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a-DK" altLang="da-DK" sz="9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rvetema 2 – FSV</a:t>
            </a:r>
            <a:br>
              <a:rPr kumimoji="0" lang="da-DK" altLang="da-DK" sz="9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a-DK" altLang="da-DK" sz="9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rvetema 3 – Afdæmpede farver</a:t>
            </a:r>
            <a:endParaRPr kumimoji="0" lang="da-DK" sz="900" b="1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kift logo på hvert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øjreklik på logoet og vælg </a:t>
            </a: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kift billed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 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d det rigtige logo. Vælg </a:t>
            </a: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sæ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. Kopier 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Ctrl+C) det nye indsatte logo, klik på det gamle logo på et slide af gangen og </a:t>
            </a: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sæt 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Ctrl+V)</a:t>
            </a:r>
            <a:endParaRPr kumimoji="0" lang="da-DK" altLang="da-DK" sz="800" b="1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Text Box 2"/>
          <p:cNvSpPr txBox="1">
            <a:spLocks noChangeArrowheads="1"/>
          </p:cNvSpPr>
          <p:nvPr userDrawn="1"/>
        </p:nvSpPr>
        <p:spPr bwMode="auto">
          <a:xfrm>
            <a:off x="3982023" y="1634493"/>
            <a:ext cx="1975650" cy="1708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sæt nyt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</a:t>
            </a:r>
            <a:r>
              <a:rPr kumimoji="0" lang="da-DK" altLang="da-DK" sz="9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lik på fanen </a:t>
            </a:r>
            <a:r>
              <a:rPr kumimoji="0" lang="da-DK" altLang="da-DK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je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 </a:t>
            </a:r>
            <a:r>
              <a:rPr kumimoji="0" lang="da-DK" altLang="da-DK" sz="9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lik på menupunktet </a:t>
            </a:r>
            <a:r>
              <a:rPr kumimoji="0" lang="da-DK" altLang="da-DK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yt Slide </a:t>
            </a:r>
            <a:r>
              <a:rPr kumimoji="0" lang="da-DK" altLang="da-DK" sz="9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at indsætte et nyt slide</a:t>
            </a:r>
            <a:endParaRPr kumimoji="0" lang="da-DK" sz="900" b="1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9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Ændre slide layouts</a:t>
            </a:r>
            <a:endParaRPr kumimoji="0" lang="da-DK" altLang="da-DK" sz="9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lik på pilen ved siden af </a:t>
            </a: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yout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for at få vist en dropdown menu af mulige slides layo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 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ælg </a:t>
            </a:r>
            <a:r>
              <a:rPr kumimoji="0" lang="da-DK" altLang="da-DK" sz="8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yout</a:t>
            </a: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for at ændre dit </a:t>
            </a:r>
            <a:b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a-DK" altLang="da-DK" sz="8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værende layout til et alternativt</a:t>
            </a:r>
          </a:p>
        </p:txBody>
      </p:sp>
    </p:spTree>
    <p:extLst>
      <p:ext uri="{BB962C8B-B14F-4D97-AF65-F5344CB8AC3E}">
        <p14:creationId xmlns:p14="http://schemas.microsoft.com/office/powerpoint/2010/main" val="1751729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ed mær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ackground">
            <a:extLst>
              <a:ext uri="{FF2B5EF4-FFF2-40B4-BE49-F238E27FC236}">
                <a16:creationId xmlns:a16="http://schemas.microsoft.com/office/drawing/2014/main" xmlns="" id="{CF16D15C-13B3-4944-9207-EAE3F2F6FBA2}"/>
              </a:ext>
            </a:extLst>
          </p:cNvPr>
          <p:cNvSpPr/>
          <p:nvPr userDrawn="1"/>
        </p:nvSpPr>
        <p:spPr>
          <a:xfrm>
            <a:off x="0" y="0"/>
            <a:ext cx="9144900" cy="6861600"/>
          </a:xfrm>
          <a:prstGeom prst="rect">
            <a:avLst/>
          </a:prstGeom>
          <a:solidFill>
            <a:srgbClr val="EC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500" noProof="0" dirty="0" err="1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B8126187-203A-4C82-B9B4-54CC3E24069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638975" y="495300"/>
            <a:ext cx="5857200" cy="5857200"/>
          </a:xfrm>
        </p:spPr>
        <p:txBody>
          <a:bodyPr tIns="216000"/>
          <a:lstStyle>
            <a:lvl1pPr marL="0" indent="0" algn="ctr">
              <a:buNone/>
              <a:defRPr/>
            </a:lvl1pPr>
          </a:lstStyle>
          <a:p>
            <a:r>
              <a:rPr lang="da-DK" dirty="0"/>
              <a:t>Klik her og indsæt vandmærk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51374" y="1871663"/>
            <a:ext cx="8133851" cy="1933617"/>
          </a:xfrm>
        </p:spPr>
        <p:txBody>
          <a:bodyPr wrap="square" anchor="b">
            <a:noAutofit/>
          </a:bodyPr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en ti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91585" y="3896284"/>
            <a:ext cx="4876296" cy="1519743"/>
          </a:xfrm>
        </p:spPr>
        <p:txBody>
          <a:bodyPr wrap="square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1pPr>
            <a:lvl2pPr marL="0" indent="0" algn="l">
              <a:lnSpc>
                <a:spcPct val="110000"/>
              </a:lnSpc>
              <a:buFont typeface="Arial" panose="020B0604020202020204" pitchFamily="34" charset="0"/>
              <a:buNone/>
              <a:defRPr sz="1500"/>
            </a:lvl2pPr>
            <a:lvl3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da-DK" dirty="0"/>
              <a:t>Klik, og tilføj undertitel</a:t>
            </a:r>
          </a:p>
        </p:txBody>
      </p:sp>
      <p:sp>
        <p:nvSpPr>
          <p:cNvPr id="23" name="Bottom box">
            <a:extLst>
              <a:ext uri="{FF2B5EF4-FFF2-40B4-BE49-F238E27FC236}">
                <a16:creationId xmlns:a16="http://schemas.microsoft.com/office/drawing/2014/main" xmlns="" id="{89821071-2E34-4B87-885E-590BD2636B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200" y="5922000"/>
            <a:ext cx="7776000" cy="75600"/>
          </a:xfrm>
          <a:solidFill>
            <a:srgbClr val="002855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  <a:lvl2pPr marL="459450" indent="-171450">
              <a:buFont typeface="Arial" panose="020B0604020202020204" pitchFamily="34" charset="0"/>
              <a:buChar char="•"/>
              <a:defRPr sz="100"/>
            </a:lvl2pPr>
            <a:lvl3pPr marL="747450" indent="-171450">
              <a:buFont typeface="Arial" panose="020B0604020202020204" pitchFamily="34" charset="0"/>
              <a:buChar char="•"/>
              <a:defRPr sz="100"/>
            </a:lvl3pPr>
            <a:lvl4pPr marL="747450" indent="-171450">
              <a:buFont typeface="Arial" panose="020B0604020202020204" pitchFamily="34" charset="0"/>
              <a:buChar char="•"/>
              <a:defRPr sz="100"/>
            </a:lvl4pPr>
            <a:lvl5pPr marL="747450" indent="-171450">
              <a:buFont typeface="Arial" panose="020B0604020202020204" pitchFamily="34" charset="0"/>
              <a:buChar char="•"/>
              <a:defRPr sz="100"/>
            </a:lvl5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24" name="Tjenestebrug">
            <a:extLst>
              <a:ext uri="{FF2B5EF4-FFF2-40B4-BE49-F238E27FC236}">
                <a16:creationId xmlns:a16="http://schemas.microsoft.com/office/drawing/2014/main" xmlns="" id="{C0C82AC3-0336-4737-8280-A45BAE1DA37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29800" y="113146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5" name="Afklassificeret">
            <a:extLst>
              <a:ext uri="{FF2B5EF4-FFF2-40B4-BE49-F238E27FC236}">
                <a16:creationId xmlns:a16="http://schemas.microsoft.com/office/drawing/2014/main" xmlns="" id="{43F8254F-D5FE-443B-9376-05A5AAD2DF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29801" y="27720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6" name="Brug">
            <a:extLst>
              <a:ext uri="{FF2B5EF4-FFF2-40B4-BE49-F238E27FC236}">
                <a16:creationId xmlns:a16="http://schemas.microsoft.com/office/drawing/2014/main" xmlns="" id="{C29E5E53-7ADB-40A3-818E-17C86F51B24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29800" y="389808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7" name="Tjenestebrug">
            <a:extLst>
              <a:ext uri="{FF2B5EF4-FFF2-40B4-BE49-F238E27FC236}">
                <a16:creationId xmlns:a16="http://schemas.microsoft.com/office/drawing/2014/main" xmlns="" id="{88CCF056-6E37-4E9C-AFF1-C5488E3A6A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29799" y="6282641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8" name="Afklassificeret">
            <a:extLst>
              <a:ext uri="{FF2B5EF4-FFF2-40B4-BE49-F238E27FC236}">
                <a16:creationId xmlns:a16="http://schemas.microsoft.com/office/drawing/2014/main" xmlns="" id="{307FC0C7-1D70-48F4-BA01-75A3C8F62F8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29800" y="644040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9" name="Brug">
            <a:extLst>
              <a:ext uri="{FF2B5EF4-FFF2-40B4-BE49-F238E27FC236}">
                <a16:creationId xmlns:a16="http://schemas.microsoft.com/office/drawing/2014/main" xmlns="" id="{6048F543-A57F-46ED-9AD2-FF7B8401200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29799" y="6552000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xmlns="" id="{7A1007AC-71D9-4C3B-BE94-4486EE7499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292991A-28B5-4920-BBFE-B7C226159A6E}" type="datetime2">
              <a:rPr lang="da-DK" smtClean="0"/>
              <a:pPr/>
              <a:t>12. november 2020</a:t>
            </a:fld>
            <a:endParaRPr lang="da-DK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xmlns="" id="{3C001EB5-078B-41F4-921C-9742B9FC6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xmlns="" id="{73D9D80D-E108-4E26-A9C4-A691F717C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xmlns="" id="{96D5A5A4-4802-40F7-80BB-90AA8B9B50B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51600" y="482400"/>
            <a:ext cx="2764800" cy="601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a-DK" noProof="0" dirty="0"/>
              <a:t>Indsæt logo: Klik på ikonet eller pladsholderen, find logo, klik indsæt</a:t>
            </a:r>
          </a:p>
        </p:txBody>
      </p:sp>
    </p:spTree>
    <p:extLst>
      <p:ext uri="{BB962C8B-B14F-4D97-AF65-F5344CB8AC3E}">
        <p14:creationId xmlns:p14="http://schemas.microsoft.com/office/powerpoint/2010/main" val="2656269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">
            <a:extLst>
              <a:ext uri="{FF2B5EF4-FFF2-40B4-BE49-F238E27FC236}">
                <a16:creationId xmlns:a16="http://schemas.microsoft.com/office/drawing/2014/main" xmlns="" id="{7E2AB669-D28D-42F1-807C-A14090E25252}"/>
              </a:ext>
            </a:extLst>
          </p:cNvPr>
          <p:cNvSpPr/>
          <p:nvPr userDrawn="1"/>
        </p:nvSpPr>
        <p:spPr>
          <a:xfrm>
            <a:off x="0" y="0"/>
            <a:ext cx="9144900" cy="6861600"/>
          </a:xfrm>
          <a:prstGeom prst="rect">
            <a:avLst/>
          </a:prstGeom>
          <a:solidFill>
            <a:srgbClr val="EC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5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51374" y="1871663"/>
            <a:ext cx="8133851" cy="1933617"/>
          </a:xfrm>
        </p:spPr>
        <p:txBody>
          <a:bodyPr wrap="square" anchor="b">
            <a:noAutofit/>
          </a:bodyPr>
          <a:lstStyle>
            <a:lvl1pPr algn="l">
              <a:defRPr sz="370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her for at tilføje en ti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91585" y="3896284"/>
            <a:ext cx="4876296" cy="1519743"/>
          </a:xfrm>
        </p:spPr>
        <p:txBody>
          <a:bodyPr wrap="square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500"/>
            </a:lvl1pPr>
            <a:lvl2pPr marL="0" indent="0" algn="l">
              <a:lnSpc>
                <a:spcPct val="110000"/>
              </a:lnSpc>
              <a:buFont typeface="Arial" panose="020B0604020202020204" pitchFamily="34" charset="0"/>
              <a:buNone/>
              <a:defRPr sz="1500"/>
            </a:lvl2pPr>
            <a:lvl3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500"/>
            </a:lvl3pPr>
            <a:lvl4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500"/>
            </a:lvl4pPr>
            <a:lvl5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500"/>
            </a:lvl5pPr>
            <a:lvl6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500"/>
            </a:lvl6pPr>
            <a:lvl7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500"/>
            </a:lvl7pPr>
            <a:lvl8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500"/>
            </a:lvl8pPr>
            <a:lvl9pPr marL="0" indent="0" algn="l">
              <a:lnSpc>
                <a:spcPct val="110000"/>
              </a:lnSpc>
              <a:buFont typeface="Arial" panose="020B0604020202020204" pitchFamily="34" charset="0"/>
              <a:buChar char="​"/>
              <a:defRPr sz="1500"/>
            </a:lvl9pPr>
          </a:lstStyle>
          <a:p>
            <a:r>
              <a:rPr lang="da-DK" dirty="0"/>
              <a:t>Klik, og tilføj undertitel</a:t>
            </a:r>
          </a:p>
        </p:txBody>
      </p:sp>
      <p:sp>
        <p:nvSpPr>
          <p:cNvPr id="23" name="Bottom box">
            <a:extLst>
              <a:ext uri="{FF2B5EF4-FFF2-40B4-BE49-F238E27FC236}">
                <a16:creationId xmlns:a16="http://schemas.microsoft.com/office/drawing/2014/main" xmlns="" id="{89821071-2E34-4B87-885E-590BD2636B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200" y="5922000"/>
            <a:ext cx="7776000" cy="75600"/>
          </a:xfrm>
          <a:solidFill>
            <a:srgbClr val="002855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>
                <a:noFill/>
              </a:defRPr>
            </a:lvl1pPr>
            <a:lvl2pPr marL="459450" indent="-171450">
              <a:buFont typeface="Arial" panose="020B0604020202020204" pitchFamily="34" charset="0"/>
              <a:buChar char="•"/>
              <a:defRPr sz="100"/>
            </a:lvl2pPr>
            <a:lvl3pPr marL="747450" indent="-171450">
              <a:buFont typeface="Arial" panose="020B0604020202020204" pitchFamily="34" charset="0"/>
              <a:buChar char="•"/>
              <a:defRPr sz="100"/>
            </a:lvl3pPr>
            <a:lvl4pPr marL="747450" indent="-171450">
              <a:buFont typeface="Arial" panose="020B0604020202020204" pitchFamily="34" charset="0"/>
              <a:buChar char="•"/>
              <a:defRPr sz="100"/>
            </a:lvl4pPr>
            <a:lvl5pPr marL="747450" indent="-171450">
              <a:buFont typeface="Arial" panose="020B0604020202020204" pitchFamily="34" charset="0"/>
              <a:buChar char="•"/>
              <a:defRPr sz="100"/>
            </a:lvl5pPr>
          </a:lstStyle>
          <a:p>
            <a:pPr lvl="0"/>
            <a:r>
              <a:rPr lang="da-DK" dirty="0"/>
              <a:t>.</a:t>
            </a:r>
          </a:p>
        </p:txBody>
      </p:sp>
      <p:sp>
        <p:nvSpPr>
          <p:cNvPr id="24" name="Tjenestebrug">
            <a:extLst>
              <a:ext uri="{FF2B5EF4-FFF2-40B4-BE49-F238E27FC236}">
                <a16:creationId xmlns:a16="http://schemas.microsoft.com/office/drawing/2014/main" xmlns="" id="{C0C82AC3-0336-4737-8280-A45BAE1DA37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29800" y="113146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5" name="Afklassificeret">
            <a:extLst>
              <a:ext uri="{FF2B5EF4-FFF2-40B4-BE49-F238E27FC236}">
                <a16:creationId xmlns:a16="http://schemas.microsoft.com/office/drawing/2014/main" xmlns="" id="{43F8254F-D5FE-443B-9376-05A5AAD2DF7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29801" y="27720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6" name="Brug">
            <a:extLst>
              <a:ext uri="{FF2B5EF4-FFF2-40B4-BE49-F238E27FC236}">
                <a16:creationId xmlns:a16="http://schemas.microsoft.com/office/drawing/2014/main" xmlns="" id="{C29E5E53-7ADB-40A3-818E-17C86F51B24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29800" y="389808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7" name="Tjenestebrug">
            <a:extLst>
              <a:ext uri="{FF2B5EF4-FFF2-40B4-BE49-F238E27FC236}">
                <a16:creationId xmlns:a16="http://schemas.microsoft.com/office/drawing/2014/main" xmlns="" id="{88CCF056-6E37-4E9C-AFF1-C5488E3A6A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29799" y="6282641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8" name="Afklassificeret">
            <a:extLst>
              <a:ext uri="{FF2B5EF4-FFF2-40B4-BE49-F238E27FC236}">
                <a16:creationId xmlns:a16="http://schemas.microsoft.com/office/drawing/2014/main" xmlns="" id="{307FC0C7-1D70-48F4-BA01-75A3C8F62F8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29800" y="644040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9" name="Brug">
            <a:extLst>
              <a:ext uri="{FF2B5EF4-FFF2-40B4-BE49-F238E27FC236}">
                <a16:creationId xmlns:a16="http://schemas.microsoft.com/office/drawing/2014/main" xmlns="" id="{6048F543-A57F-46ED-9AD2-FF7B8401200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29799" y="6552000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0" name="Date Placeholder 2">
            <a:extLst>
              <a:ext uri="{FF2B5EF4-FFF2-40B4-BE49-F238E27FC236}">
                <a16:creationId xmlns:a16="http://schemas.microsoft.com/office/drawing/2014/main" xmlns="" id="{7A1007AC-71D9-4C3B-BE94-4486EE7499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292991A-28B5-4920-BBFE-B7C226159A6E}" type="datetime2">
              <a:rPr lang="da-DK" smtClean="0"/>
              <a:pPr/>
              <a:t>12. november 2020</a:t>
            </a:fld>
            <a:endParaRPr lang="da-DK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xmlns="" id="{3C001EB5-078B-41F4-921C-9742B9FC6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xmlns="" id="{73D9D80D-E108-4E26-A9C4-A691F717C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xmlns="" id="{6A134930-EFF0-42FB-9BE3-4E7319E0926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51600" y="482400"/>
            <a:ext cx="2764800" cy="6012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a-DK" noProof="0" dirty="0"/>
              <a:t>Indsæt logo: Klik på ikonet eller pladsholderen, find logo, klik indsæt</a:t>
            </a:r>
          </a:p>
        </p:txBody>
      </p:sp>
    </p:spTree>
    <p:extLst>
      <p:ext uri="{BB962C8B-B14F-4D97-AF65-F5344CB8AC3E}">
        <p14:creationId xmlns:p14="http://schemas.microsoft.com/office/powerpoint/2010/main" val="1231272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1565AB2-4194-4BA1-BD8F-4416AE0289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her for at tilføje en tit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D81B1306-C7E7-4FE6-B602-CE04C23A83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5651" y="2330450"/>
            <a:ext cx="8029574" cy="36734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8" name="Tjenestebrug">
            <a:extLst>
              <a:ext uri="{FF2B5EF4-FFF2-40B4-BE49-F238E27FC236}">
                <a16:creationId xmlns:a16="http://schemas.microsoft.com/office/drawing/2014/main" xmlns="" id="{4FA4E295-C991-4C85-A430-8E77C6856D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29800" y="113146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9" name="Afklassificeret">
            <a:extLst>
              <a:ext uri="{FF2B5EF4-FFF2-40B4-BE49-F238E27FC236}">
                <a16:creationId xmlns:a16="http://schemas.microsoft.com/office/drawing/2014/main" xmlns="" id="{F6BF7C7E-D6F4-4FD7-9D13-A7183A63FB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29801" y="27569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0" name="Brug">
            <a:extLst>
              <a:ext uri="{FF2B5EF4-FFF2-40B4-BE49-F238E27FC236}">
                <a16:creationId xmlns:a16="http://schemas.microsoft.com/office/drawing/2014/main" xmlns="" id="{48088BE7-A6B0-4C44-BAE5-68CC9E06B95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29800" y="389808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1" name="Tjenestebrug">
            <a:extLst>
              <a:ext uri="{FF2B5EF4-FFF2-40B4-BE49-F238E27FC236}">
                <a16:creationId xmlns:a16="http://schemas.microsoft.com/office/drawing/2014/main" xmlns="" id="{B7991B50-C9A5-412D-AD92-FBB26509DE4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29799" y="6282641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2" name="Afklassificeret">
            <a:extLst>
              <a:ext uri="{FF2B5EF4-FFF2-40B4-BE49-F238E27FC236}">
                <a16:creationId xmlns:a16="http://schemas.microsoft.com/office/drawing/2014/main" xmlns="" id="{0B3ED1EF-436E-41C8-8BB9-3E9E4E0821D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29800" y="6441919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3" name="Brug">
            <a:extLst>
              <a:ext uri="{FF2B5EF4-FFF2-40B4-BE49-F238E27FC236}">
                <a16:creationId xmlns:a16="http://schemas.microsoft.com/office/drawing/2014/main" xmlns="" id="{1F7C78C5-98A2-46B6-82CA-0D30DD76A5E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29799" y="6552771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4AAB33EC-4EA5-4B1C-AF27-EC2B76F2D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65669" y="6419492"/>
            <a:ext cx="2241483" cy="167552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8DB55C38-6DD3-4472-B59C-C5E23E98D5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E49E4-2702-4F1F-829B-6774A117D379}" type="datetime2">
              <a:rPr lang="da-DK" smtClean="0"/>
              <a:t>12. november 2020</a:t>
            </a:fld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F01B945D-1257-489D-A1DE-20820526F6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xmlns="" id="{01B8492F-4FD2-4E18-830D-200F0103288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60000" y="140400"/>
            <a:ext cx="1807200" cy="392400"/>
          </a:xfrm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da-DK" noProof="0" dirty="0"/>
              <a:t>Indsæt logo: Klik på ikonet eller pladsholderen, find logo, klik indsæt</a:t>
            </a:r>
          </a:p>
        </p:txBody>
      </p:sp>
    </p:spTree>
    <p:extLst>
      <p:ext uri="{BB962C8B-B14F-4D97-AF65-F5344CB8AC3E}">
        <p14:creationId xmlns:p14="http://schemas.microsoft.com/office/powerpoint/2010/main" val="1142203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xmlns="" id="{DFD13AEA-AC92-460F-AA1C-72BBDE0C595F}"/>
              </a:ext>
            </a:extLst>
          </p:cNvPr>
          <p:cNvSpPr/>
          <p:nvPr userDrawn="1"/>
        </p:nvSpPr>
        <p:spPr>
          <a:xfrm>
            <a:off x="0" y="1678674"/>
            <a:ext cx="9144900" cy="4325251"/>
          </a:xfrm>
          <a:prstGeom prst="rect">
            <a:avLst/>
          </a:prstGeom>
          <a:solidFill>
            <a:srgbClr val="EC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5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AC183A79-03C4-45B2-9705-CA90472E78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5651" y="1150629"/>
            <a:ext cx="8029573" cy="528045"/>
          </a:xfrm>
        </p:spPr>
        <p:txBody>
          <a:bodyPr/>
          <a:lstStyle>
            <a:lvl1pPr>
              <a:defRPr sz="2000"/>
            </a:lvl1pPr>
          </a:lstStyle>
          <a:p>
            <a:r>
              <a:rPr lang="da-DK" dirty="0"/>
              <a:t>Klik her for at tilføje en tit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A3770099-9DEB-415E-9316-340F3A356A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5651" y="1871663"/>
            <a:ext cx="568884" cy="21823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1" cap="all" baseline="0"/>
            </a:lvl1pPr>
            <a:lvl2pPr marL="288000" indent="0">
              <a:buNone/>
              <a:defRPr sz="900" b="1" cap="all" baseline="0"/>
            </a:lvl2pPr>
            <a:lvl3pPr marL="576000" indent="0">
              <a:buNone/>
              <a:defRPr sz="900" b="1" cap="all" baseline="0"/>
            </a:lvl3pPr>
            <a:lvl4pPr marL="576000" indent="0">
              <a:buNone/>
              <a:defRPr sz="900" b="1" cap="all" baseline="0"/>
            </a:lvl4pPr>
            <a:lvl5pPr marL="576000" indent="0">
              <a:buNone/>
              <a:defRPr sz="900" b="1" cap="all" baseline="0"/>
            </a:lvl5pPr>
          </a:lstStyle>
          <a:p>
            <a:pPr lvl="0"/>
            <a:r>
              <a:rPr lang="da-DK" dirty="0"/>
              <a:t>Figur 0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88E181FA-9D5B-4F74-9D20-48918B3710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61013" y="1871664"/>
            <a:ext cx="4589844" cy="218236"/>
          </a:xfrm>
        </p:spPr>
        <p:txBody>
          <a:bodyPr/>
          <a:lstStyle>
            <a:lvl1pPr marL="90000" indent="-90000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SzPct val="105000"/>
              <a:buFont typeface="Verdana" panose="020B0604030504040204" pitchFamily="34" charset="0"/>
              <a:buChar char="/"/>
              <a:defRPr sz="900"/>
            </a:lvl1pPr>
            <a:lvl2pPr marL="162000" indent="-90000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SzPct val="105000"/>
              <a:buFont typeface="Verdana" panose="020B0604030504040204" pitchFamily="34" charset="0"/>
              <a:buChar char="/"/>
              <a:defRPr sz="900"/>
            </a:lvl2pPr>
            <a:lvl3pPr marL="162000" indent="-90000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SzPct val="105000"/>
              <a:buFont typeface="Verdana" panose="020B0604030504040204" pitchFamily="34" charset="0"/>
              <a:buChar char="/"/>
              <a:defRPr sz="900"/>
            </a:lvl3pPr>
            <a:lvl4pPr marL="162000" indent="-90000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SzPct val="105000"/>
              <a:buFont typeface="Verdana" panose="020B0604030504040204" pitchFamily="34" charset="0"/>
              <a:buChar char="/"/>
              <a:defRPr sz="900"/>
            </a:lvl4pPr>
            <a:lvl5pPr marL="162000" indent="-90000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SzPct val="105000"/>
              <a:buFont typeface="Verdana" panose="020B0604030504040204" pitchFamily="34" charset="0"/>
              <a:buChar char="/"/>
              <a:defRPr sz="900"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xmlns="" id="{15F7513E-5E93-4781-9BCB-D518A3271C3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55651" y="2330449"/>
            <a:ext cx="5195206" cy="350429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Indsæt graf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Tjenestebrug">
            <a:extLst>
              <a:ext uri="{FF2B5EF4-FFF2-40B4-BE49-F238E27FC236}">
                <a16:creationId xmlns:a16="http://schemas.microsoft.com/office/drawing/2014/main" xmlns="" id="{5AEDA4AC-E820-4FF9-9D29-6D30F4ECA4D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29800" y="113146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6" name="Afklassificeret">
            <a:extLst>
              <a:ext uri="{FF2B5EF4-FFF2-40B4-BE49-F238E27FC236}">
                <a16:creationId xmlns:a16="http://schemas.microsoft.com/office/drawing/2014/main" xmlns="" id="{C581D602-335D-4AD1-9321-84B3E8EACD6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29801" y="27720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7" name="Brug">
            <a:extLst>
              <a:ext uri="{FF2B5EF4-FFF2-40B4-BE49-F238E27FC236}">
                <a16:creationId xmlns:a16="http://schemas.microsoft.com/office/drawing/2014/main" xmlns="" id="{52314151-B3B4-43E7-99BB-8468DC766D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29800" y="389808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8" name="Tjenestebrug">
            <a:extLst>
              <a:ext uri="{FF2B5EF4-FFF2-40B4-BE49-F238E27FC236}">
                <a16:creationId xmlns:a16="http://schemas.microsoft.com/office/drawing/2014/main" xmlns="" id="{4BC199A5-FE27-4EDC-820E-D6B1829FD7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29799" y="6282641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9" name="Afklassificeret">
            <a:extLst>
              <a:ext uri="{FF2B5EF4-FFF2-40B4-BE49-F238E27FC236}">
                <a16:creationId xmlns:a16="http://schemas.microsoft.com/office/drawing/2014/main" xmlns="" id="{29A7BC64-533D-4AA5-8E75-B3674960D31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29800" y="644040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0" name="Brug">
            <a:extLst>
              <a:ext uri="{FF2B5EF4-FFF2-40B4-BE49-F238E27FC236}">
                <a16:creationId xmlns:a16="http://schemas.microsoft.com/office/drawing/2014/main" xmlns="" id="{95754423-8376-41BA-9D47-4C67B853B8D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29799" y="6552000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6616742-48B4-4C0F-BB50-5832BEFA5C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E57C1D4D-39D4-4D36-AD2D-583A0AFFC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E49E4-2702-4F1F-829B-6774A117D379}" type="datetime2">
              <a:rPr lang="da-DK" smtClean="0"/>
              <a:t>12. november 2020</a:t>
            </a:fld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A2487C5-46EC-4A79-8D39-EF34AFB84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3" name="Picture Placeholder 12">
            <a:extLst>
              <a:ext uri="{FF2B5EF4-FFF2-40B4-BE49-F238E27FC236}">
                <a16:creationId xmlns:a16="http://schemas.microsoft.com/office/drawing/2014/main" xmlns="" id="{E78D5CDA-2970-4ABE-A996-C3289CFEB97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60000" y="140400"/>
            <a:ext cx="1807200" cy="3924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a-DK" noProof="0"/>
              <a:t>Indsæt logo: Klik på ikonet eller pladsholderen, find logo, klik indsæt</a:t>
            </a:r>
          </a:p>
        </p:txBody>
      </p:sp>
    </p:spTree>
    <p:extLst>
      <p:ext uri="{BB962C8B-B14F-4D97-AF65-F5344CB8AC3E}">
        <p14:creationId xmlns:p14="http://schemas.microsoft.com/office/powerpoint/2010/main" val="2442595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xmlns="" id="{DFD13AEA-AC92-460F-AA1C-72BBDE0C595F}"/>
              </a:ext>
            </a:extLst>
          </p:cNvPr>
          <p:cNvSpPr/>
          <p:nvPr userDrawn="1"/>
        </p:nvSpPr>
        <p:spPr>
          <a:xfrm>
            <a:off x="0" y="1678674"/>
            <a:ext cx="9144900" cy="4325251"/>
          </a:xfrm>
          <a:prstGeom prst="rect">
            <a:avLst/>
          </a:prstGeom>
          <a:solidFill>
            <a:srgbClr val="ECEF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5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AC183A79-03C4-45B2-9705-CA90472E78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5651" y="1150629"/>
            <a:ext cx="8029573" cy="528045"/>
          </a:xfrm>
        </p:spPr>
        <p:txBody>
          <a:bodyPr/>
          <a:lstStyle>
            <a:lvl1pPr>
              <a:defRPr sz="2000"/>
            </a:lvl1pPr>
          </a:lstStyle>
          <a:p>
            <a:r>
              <a:rPr lang="da-DK" dirty="0"/>
              <a:t>Klik her for at tilføje en titel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xmlns="" id="{15F7513E-5E93-4781-9BCB-D518A3271C3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755650" y="1873770"/>
            <a:ext cx="8029573" cy="396097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Indsæt tabel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8521F739-A77E-4BF5-B1BC-AA8DA3B6A3D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5650" y="5459506"/>
            <a:ext cx="8029573" cy="375236"/>
          </a:xfrm>
        </p:spPr>
        <p:txBody>
          <a:bodyPr anchor="b" anchorCtr="0"/>
          <a:lstStyle>
            <a:lvl1pPr marL="108000" indent="-108000">
              <a:lnSpc>
                <a:spcPct val="114000"/>
              </a:lnSpc>
              <a:spcBef>
                <a:spcPts val="0"/>
              </a:spcBef>
              <a:buFont typeface="Verdana" panose="020B0604030504040204" pitchFamily="34" charset="0"/>
              <a:buChar char="*"/>
              <a:defRPr sz="900"/>
            </a:lvl1pPr>
            <a:lvl2pPr marL="108000" indent="-108000">
              <a:lnSpc>
                <a:spcPct val="114000"/>
              </a:lnSpc>
              <a:spcBef>
                <a:spcPts val="0"/>
              </a:spcBef>
              <a:buFont typeface="Verdana" panose="020B0604030504040204" pitchFamily="34" charset="0"/>
              <a:buChar char="*"/>
              <a:defRPr sz="900"/>
            </a:lvl2pPr>
            <a:lvl3pPr marL="108000" indent="-108000">
              <a:lnSpc>
                <a:spcPct val="114000"/>
              </a:lnSpc>
              <a:spcBef>
                <a:spcPts val="0"/>
              </a:spcBef>
              <a:buFont typeface="Verdana" panose="020B0604030504040204" pitchFamily="34" charset="0"/>
              <a:buChar char="*"/>
              <a:defRPr sz="900"/>
            </a:lvl3pPr>
            <a:lvl4pPr marL="108000" indent="-108000">
              <a:lnSpc>
                <a:spcPct val="114000"/>
              </a:lnSpc>
              <a:spcBef>
                <a:spcPts val="0"/>
              </a:spcBef>
              <a:buFont typeface="Verdana" panose="020B0604030504040204" pitchFamily="34" charset="0"/>
              <a:buChar char="*"/>
              <a:defRPr sz="900"/>
            </a:lvl4pPr>
            <a:lvl5pPr marL="108000" indent="-108000">
              <a:lnSpc>
                <a:spcPct val="114000"/>
              </a:lnSpc>
              <a:spcBef>
                <a:spcPts val="0"/>
              </a:spcBef>
              <a:buFont typeface="Verdana" panose="020B0604030504040204" pitchFamily="34" charset="0"/>
              <a:buChar char="*"/>
              <a:defRPr sz="900"/>
            </a:lvl5pPr>
          </a:lstStyle>
          <a:p>
            <a:pPr lvl="0"/>
            <a:r>
              <a:rPr lang="da-DK"/>
              <a:t>Klik for at tilføje notes tekst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  <a:endParaRPr lang="da-DK" dirty="0"/>
          </a:p>
        </p:txBody>
      </p:sp>
      <p:sp>
        <p:nvSpPr>
          <p:cNvPr id="21" name="Tjenestebrug">
            <a:extLst>
              <a:ext uri="{FF2B5EF4-FFF2-40B4-BE49-F238E27FC236}">
                <a16:creationId xmlns:a16="http://schemas.microsoft.com/office/drawing/2014/main" xmlns="" id="{ACDFB918-ACD5-48C8-BAAB-73699F994E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29800" y="113146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2" name="Afklassificeret">
            <a:extLst>
              <a:ext uri="{FF2B5EF4-FFF2-40B4-BE49-F238E27FC236}">
                <a16:creationId xmlns:a16="http://schemas.microsoft.com/office/drawing/2014/main" xmlns="" id="{82546EAD-BB49-4BE4-8333-7E33370C9CC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29801" y="27720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3" name="Brug">
            <a:extLst>
              <a:ext uri="{FF2B5EF4-FFF2-40B4-BE49-F238E27FC236}">
                <a16:creationId xmlns:a16="http://schemas.microsoft.com/office/drawing/2014/main" xmlns="" id="{B888FBB3-619C-4EB9-831A-C24639B3F4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29800" y="389808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4" name="Tjenestebrug">
            <a:extLst>
              <a:ext uri="{FF2B5EF4-FFF2-40B4-BE49-F238E27FC236}">
                <a16:creationId xmlns:a16="http://schemas.microsoft.com/office/drawing/2014/main" xmlns="" id="{7F5EC99F-D4DF-44AC-858F-308A012640E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29799" y="6282641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5" name="Afklassificeret">
            <a:extLst>
              <a:ext uri="{FF2B5EF4-FFF2-40B4-BE49-F238E27FC236}">
                <a16:creationId xmlns:a16="http://schemas.microsoft.com/office/drawing/2014/main" xmlns="" id="{4329F203-7290-4A7B-8633-B8BD9F5293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29800" y="644040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6" name="Brug">
            <a:extLst>
              <a:ext uri="{FF2B5EF4-FFF2-40B4-BE49-F238E27FC236}">
                <a16:creationId xmlns:a16="http://schemas.microsoft.com/office/drawing/2014/main" xmlns="" id="{BD1615DE-F3A0-4BE4-8E07-FE9EE9C9421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29799" y="6552000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6616742-48B4-4C0F-BB50-5832BEFA5C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E57C1D4D-39D4-4D36-AD2D-583A0AFFC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E49E4-2702-4F1F-829B-6774A117D379}" type="datetime2">
              <a:rPr lang="da-DK" smtClean="0"/>
              <a:t>12. november 2020</a:t>
            </a:fld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A2487C5-46EC-4A79-8D39-EF34AFB84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xmlns="" id="{B9EA1948-FC05-4483-8478-908EC0C14947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60000" y="140400"/>
            <a:ext cx="1807200" cy="3924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a-DK" noProof="0"/>
              <a:t>Indsæt logo: Klik på ikonet eller pladsholderen, find logo, klik indsæt</a:t>
            </a:r>
          </a:p>
        </p:txBody>
      </p:sp>
    </p:spTree>
    <p:extLst>
      <p:ext uri="{BB962C8B-B14F-4D97-AF65-F5344CB8AC3E}">
        <p14:creationId xmlns:p14="http://schemas.microsoft.com/office/powerpoint/2010/main" val="3389985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10D89A1-ABF8-4557-94DC-A6B106A875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5650" y="1150630"/>
            <a:ext cx="3600449" cy="720000"/>
          </a:xfrm>
        </p:spPr>
        <p:txBody>
          <a:bodyPr>
            <a:normAutofit/>
          </a:bodyPr>
          <a:lstStyle>
            <a:lvl1pPr>
              <a:lnSpc>
                <a:spcPct val="108000"/>
              </a:lnSpc>
              <a:defRPr sz="2000"/>
            </a:lvl1pPr>
          </a:lstStyle>
          <a:p>
            <a:r>
              <a:rPr lang="da-DK" dirty="0"/>
              <a:t>Klik her for at tilføje en tit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8BCA804E-2E48-45A4-9E3E-963B42D046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5651" y="2075379"/>
            <a:ext cx="3600449" cy="392854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xmlns="" id="{2DC702A8-2053-4218-BA9A-C778DE2768E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1150630"/>
            <a:ext cx="4213225" cy="4853295"/>
          </a:xfrm>
        </p:spPr>
        <p:txBody>
          <a:bodyPr tIns="720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 dirty="0"/>
              <a:t>Klik på ikonet for at tilføje et billede</a:t>
            </a:r>
          </a:p>
        </p:txBody>
      </p:sp>
      <p:sp>
        <p:nvSpPr>
          <p:cNvPr id="16" name="Tjenestebrug">
            <a:extLst>
              <a:ext uri="{FF2B5EF4-FFF2-40B4-BE49-F238E27FC236}">
                <a16:creationId xmlns:a16="http://schemas.microsoft.com/office/drawing/2014/main" xmlns="" id="{87545A53-235D-45E4-A38E-B37C80AD2CE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29800" y="113146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7" name="Afklassificeret">
            <a:extLst>
              <a:ext uri="{FF2B5EF4-FFF2-40B4-BE49-F238E27FC236}">
                <a16:creationId xmlns:a16="http://schemas.microsoft.com/office/drawing/2014/main" xmlns="" id="{0CF71E1F-29C5-4F41-B05F-62C49644D2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29801" y="27720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8" name="Brug">
            <a:extLst>
              <a:ext uri="{FF2B5EF4-FFF2-40B4-BE49-F238E27FC236}">
                <a16:creationId xmlns:a16="http://schemas.microsoft.com/office/drawing/2014/main" xmlns="" id="{B68ACB80-1BF7-4ACB-A423-24B4268924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29800" y="389808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9" name="Tjenestebrug">
            <a:extLst>
              <a:ext uri="{FF2B5EF4-FFF2-40B4-BE49-F238E27FC236}">
                <a16:creationId xmlns:a16="http://schemas.microsoft.com/office/drawing/2014/main" xmlns="" id="{BADCC9D5-A7F8-41D0-B642-3BD0CA97D72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29799" y="6282641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0" name="Afklassificeret">
            <a:extLst>
              <a:ext uri="{FF2B5EF4-FFF2-40B4-BE49-F238E27FC236}">
                <a16:creationId xmlns:a16="http://schemas.microsoft.com/office/drawing/2014/main" xmlns="" id="{A206DF68-45AF-4E08-BA36-E0B6D0CF538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29800" y="644040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1" name="Brug">
            <a:extLst>
              <a:ext uri="{FF2B5EF4-FFF2-40B4-BE49-F238E27FC236}">
                <a16:creationId xmlns:a16="http://schemas.microsoft.com/office/drawing/2014/main" xmlns="" id="{03C42FC4-9315-444C-B13F-5147374BC30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29799" y="6552000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362D439F-994A-444A-B5F1-DDD8DF0821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B4F24AF0-1E21-4EF6-952B-F70288FB50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E49E4-2702-4F1F-829B-6774A117D379}" type="datetime2">
              <a:rPr lang="da-DK" smtClean="0"/>
              <a:t>12. november 2020</a:t>
            </a:fld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FF2C9C36-93D2-4A10-A86A-EF5C42FFDE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xmlns="" id="{23DD7D38-3109-4162-A27E-A4BF2992B5E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60000" y="140400"/>
            <a:ext cx="1807200" cy="3924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a-DK" noProof="0"/>
              <a:t>Indsæt logo: Klik på ikonet eller pladsholderen, find logo, klik indsæt</a:t>
            </a:r>
          </a:p>
        </p:txBody>
      </p:sp>
    </p:spTree>
    <p:extLst>
      <p:ext uri="{BB962C8B-B14F-4D97-AF65-F5344CB8AC3E}">
        <p14:creationId xmlns:p14="http://schemas.microsoft.com/office/powerpoint/2010/main" val="11333224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 userDrawn="1">
          <p15:clr>
            <a:srgbClr val="000000"/>
          </p15:clr>
        </p15:guide>
        <p15:guide id="2" pos="2743" userDrawn="1">
          <p15:clr>
            <a:srgbClr val="00000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to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10D89A1-ABF8-4557-94DC-A6B106A875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5650" y="1150630"/>
            <a:ext cx="3621088" cy="720000"/>
          </a:xfrm>
        </p:spPr>
        <p:txBody>
          <a:bodyPr>
            <a:normAutofit/>
          </a:bodyPr>
          <a:lstStyle>
            <a:lvl1pPr>
              <a:lnSpc>
                <a:spcPct val="108000"/>
              </a:lnSpc>
              <a:defRPr sz="2000"/>
            </a:lvl1pPr>
          </a:lstStyle>
          <a:p>
            <a:r>
              <a:rPr lang="da-DK" dirty="0"/>
              <a:t>Klik her for at tilføje en tit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8BCA804E-2E48-45A4-9E3E-963B42D046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5651" y="2075379"/>
            <a:ext cx="3621087" cy="392854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xmlns="" id="{2DC702A8-2053-4218-BA9A-C778DE2768E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1150630"/>
            <a:ext cx="4213225" cy="2326861"/>
          </a:xfrm>
        </p:spPr>
        <p:txBody>
          <a:bodyPr tIns="720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 dirty="0"/>
              <a:t>Klik på ikonet for at tilføje et billed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xmlns="" id="{92A9C204-9722-45E2-87DD-0F66D939BA8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3679200"/>
            <a:ext cx="4213224" cy="2325600"/>
          </a:xfrm>
        </p:spPr>
        <p:txBody>
          <a:bodyPr tIns="720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 dirty="0"/>
              <a:t>Klik på ikonet for at tilføje et billede</a:t>
            </a:r>
          </a:p>
        </p:txBody>
      </p:sp>
      <p:sp>
        <p:nvSpPr>
          <p:cNvPr id="18" name="Tjenestebrug">
            <a:extLst>
              <a:ext uri="{FF2B5EF4-FFF2-40B4-BE49-F238E27FC236}">
                <a16:creationId xmlns:a16="http://schemas.microsoft.com/office/drawing/2014/main" xmlns="" id="{48512F60-E631-40CD-9BB2-460B0C08AA9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29800" y="113146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19" name="Afklassificeret">
            <a:extLst>
              <a:ext uri="{FF2B5EF4-FFF2-40B4-BE49-F238E27FC236}">
                <a16:creationId xmlns:a16="http://schemas.microsoft.com/office/drawing/2014/main" xmlns="" id="{07818D5B-E0E6-4063-BCE8-F369604002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29801" y="27720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0" name="Brug">
            <a:extLst>
              <a:ext uri="{FF2B5EF4-FFF2-40B4-BE49-F238E27FC236}">
                <a16:creationId xmlns:a16="http://schemas.microsoft.com/office/drawing/2014/main" xmlns="" id="{D09AFAE2-EF2A-4689-B185-A2819961CD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29800" y="389808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1" name="Tjenestebrug">
            <a:extLst>
              <a:ext uri="{FF2B5EF4-FFF2-40B4-BE49-F238E27FC236}">
                <a16:creationId xmlns:a16="http://schemas.microsoft.com/office/drawing/2014/main" xmlns="" id="{C0B00DF4-5DE8-422F-AC74-36A71D47AA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29799" y="6282641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2" name="Afklassificeret">
            <a:extLst>
              <a:ext uri="{FF2B5EF4-FFF2-40B4-BE49-F238E27FC236}">
                <a16:creationId xmlns:a16="http://schemas.microsoft.com/office/drawing/2014/main" xmlns="" id="{4D21C6AA-4742-4444-8727-8DC56B4823B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29800" y="644040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3" name="Brug">
            <a:extLst>
              <a:ext uri="{FF2B5EF4-FFF2-40B4-BE49-F238E27FC236}">
                <a16:creationId xmlns:a16="http://schemas.microsoft.com/office/drawing/2014/main" xmlns="" id="{D1B8C3A1-0BD4-4297-B812-E1944D12F52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29799" y="6552000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362D439F-994A-444A-B5F1-DDD8DF0821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B4F24AF0-1E21-4EF6-952B-F70288FB50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E49E4-2702-4F1F-829B-6774A117D379}" type="datetime2">
              <a:rPr lang="da-DK" smtClean="0"/>
              <a:t>12. november 2020</a:t>
            </a:fld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FF2C9C36-93D2-4A10-A86A-EF5C42FFDE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xmlns="" id="{5CD1844D-BB5B-474F-8150-59D7FB79B43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60000" y="140400"/>
            <a:ext cx="1807200" cy="3924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a-DK" noProof="0" dirty="0"/>
              <a:t>Indsæt logo: Klik på ikonet eller pladsholderen, find logo, klik indsæt</a:t>
            </a:r>
          </a:p>
        </p:txBody>
      </p:sp>
    </p:spTree>
    <p:extLst>
      <p:ext uri="{BB962C8B-B14F-4D97-AF65-F5344CB8AC3E}">
        <p14:creationId xmlns:p14="http://schemas.microsoft.com/office/powerpoint/2010/main" val="87659718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000000"/>
          </p15:clr>
        </p15:guide>
        <p15:guide id="3" pos="2757" userDrawn="1">
          <p15:clr>
            <a:srgbClr val="00000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fire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10D89A1-ABF8-4557-94DC-A6B106A875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5650" y="1150630"/>
            <a:ext cx="3621088" cy="720000"/>
          </a:xfrm>
        </p:spPr>
        <p:txBody>
          <a:bodyPr>
            <a:normAutofit/>
          </a:bodyPr>
          <a:lstStyle>
            <a:lvl1pPr>
              <a:lnSpc>
                <a:spcPct val="108000"/>
              </a:lnSpc>
              <a:defRPr sz="2000"/>
            </a:lvl1pPr>
          </a:lstStyle>
          <a:p>
            <a:r>
              <a:rPr lang="da-DK" dirty="0"/>
              <a:t>Klik her for at tilføje en tit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8BCA804E-2E48-45A4-9E3E-963B42D046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5651" y="2075379"/>
            <a:ext cx="3621087" cy="140211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her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xmlns="" id="{2DC702A8-2053-4218-BA9A-C778DE2768E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1150630"/>
            <a:ext cx="4213225" cy="2326861"/>
          </a:xfrm>
        </p:spPr>
        <p:txBody>
          <a:bodyPr tIns="720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 dirty="0"/>
              <a:t>Klik på ikonet for at tilføje et billede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xmlns="" id="{92A9C204-9722-45E2-87DD-0F66D939BA8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3679200"/>
            <a:ext cx="4213224" cy="2325600"/>
          </a:xfrm>
        </p:spPr>
        <p:txBody>
          <a:bodyPr tIns="720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 dirty="0"/>
              <a:t>Klik på ikonet for at tilføje et billed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xmlns="" id="{0375E19A-5489-4BE4-B873-A87F03CC04C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55650" y="3679200"/>
            <a:ext cx="1712913" cy="2325600"/>
          </a:xfrm>
        </p:spPr>
        <p:txBody>
          <a:bodyPr tIns="720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 dirty="0"/>
              <a:t>Klik på ikonet for at tilføje et billed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xmlns="" id="{BD060AB5-D980-4E07-83FD-76BF3F4E16D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663824" y="3679200"/>
            <a:ext cx="1712913" cy="2325600"/>
          </a:xfrm>
        </p:spPr>
        <p:txBody>
          <a:bodyPr tIns="720000" anchor="ctr" anchorCtr="0"/>
          <a:lstStyle>
            <a:lvl1pPr marL="0" indent="0" algn="ctr">
              <a:buNone/>
              <a:defRPr/>
            </a:lvl1pPr>
          </a:lstStyle>
          <a:p>
            <a:r>
              <a:rPr lang="da-DK" dirty="0"/>
              <a:t>Klik på ikonet for at tilføje et billede</a:t>
            </a:r>
          </a:p>
        </p:txBody>
      </p:sp>
      <p:sp>
        <p:nvSpPr>
          <p:cNvPr id="19" name="Tjenestebrug">
            <a:extLst>
              <a:ext uri="{FF2B5EF4-FFF2-40B4-BE49-F238E27FC236}">
                <a16:creationId xmlns:a16="http://schemas.microsoft.com/office/drawing/2014/main" xmlns="" id="{F6E774BD-665C-40A5-9BF7-CD20C74F193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129800" y="113146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0" name="Afklassificeret">
            <a:extLst>
              <a:ext uri="{FF2B5EF4-FFF2-40B4-BE49-F238E27FC236}">
                <a16:creationId xmlns:a16="http://schemas.microsoft.com/office/drawing/2014/main" xmlns="" id="{B86325BD-FC5F-4D48-8923-87AADE8167E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129801" y="27720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1" name="Brug">
            <a:extLst>
              <a:ext uri="{FF2B5EF4-FFF2-40B4-BE49-F238E27FC236}">
                <a16:creationId xmlns:a16="http://schemas.microsoft.com/office/drawing/2014/main" xmlns="" id="{A13030A0-300C-47C1-9235-C2E6070E18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29800" y="389808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2" name="Tjenestebrug">
            <a:extLst>
              <a:ext uri="{FF2B5EF4-FFF2-40B4-BE49-F238E27FC236}">
                <a16:creationId xmlns:a16="http://schemas.microsoft.com/office/drawing/2014/main" xmlns="" id="{CB3639F6-78E7-49A7-B375-DCDCCF3BB7F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129799" y="6282641"/>
            <a:ext cx="2884400" cy="175318"/>
          </a:xfrm>
        </p:spPr>
        <p:txBody>
          <a:bodyPr anchor="b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/>
            </a:lvl2pPr>
            <a:lvl3pPr marL="576000" indent="0">
              <a:buNone/>
              <a:defRPr sz="1000"/>
            </a:lvl3pPr>
            <a:lvl4pPr marL="576000" indent="0">
              <a:buNone/>
              <a:defRPr sz="1000"/>
            </a:lvl4pPr>
            <a:lvl5pPr marL="576000" indent="0">
              <a:buNone/>
              <a:defRPr sz="10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3" name="Afklassificeret">
            <a:extLst>
              <a:ext uri="{FF2B5EF4-FFF2-40B4-BE49-F238E27FC236}">
                <a16:creationId xmlns:a16="http://schemas.microsoft.com/office/drawing/2014/main" xmlns="" id="{24BEEBE3-21E5-46D7-ACF3-0E53118F575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129800" y="6440400"/>
            <a:ext cx="2884399" cy="126892"/>
          </a:xfrm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00" cap="all" baseline="0"/>
            </a:lvl1pPr>
            <a:lvl2pPr marL="288000" indent="0" algn="ctr">
              <a:buNone/>
              <a:defRPr sz="700"/>
            </a:lvl2pPr>
            <a:lvl3pPr marL="576000" indent="0" algn="ctr">
              <a:buNone/>
              <a:defRPr sz="700"/>
            </a:lvl3pPr>
            <a:lvl4pPr marL="576000" indent="0" algn="ctr">
              <a:buNone/>
              <a:defRPr sz="700"/>
            </a:lvl4pPr>
            <a:lvl5pPr marL="576000" indent="0" algn="ctr">
              <a:buNone/>
              <a:defRPr sz="70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24" name="Brug">
            <a:extLst>
              <a:ext uri="{FF2B5EF4-FFF2-40B4-BE49-F238E27FC236}">
                <a16:creationId xmlns:a16="http://schemas.microsoft.com/office/drawing/2014/main" xmlns="" id="{E3C16698-D48D-4141-A31D-DC33AA1B4E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29799" y="6552000"/>
            <a:ext cx="2884399" cy="17640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000" cap="all" baseline="0"/>
            </a:lvl1pPr>
            <a:lvl2pPr marL="288000" indent="0">
              <a:buNone/>
              <a:defRPr sz="1000" cap="all" baseline="0"/>
            </a:lvl2pPr>
            <a:lvl3pPr marL="576000" indent="0">
              <a:buNone/>
              <a:defRPr sz="1000" cap="all" baseline="0"/>
            </a:lvl3pPr>
            <a:lvl4pPr marL="576000" indent="0">
              <a:buNone/>
              <a:defRPr sz="1000" cap="all" baseline="0"/>
            </a:lvl4pPr>
            <a:lvl5pPr marL="576000" indent="0">
              <a:buNone/>
              <a:defRPr sz="1000" cap="all" baseline="0"/>
            </a:lvl5pPr>
          </a:lstStyle>
          <a:p>
            <a:pPr lvl="0"/>
            <a:r>
              <a:rPr lang="da-DK" noProof="0" dirty="0"/>
              <a:t>Klik for at tilføje teks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362D439F-994A-444A-B5F1-DDD8DF0821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B4F24AF0-1E21-4EF6-952B-F70288FB50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E49E4-2702-4F1F-829B-6774A117D379}" type="datetime2">
              <a:rPr lang="da-DK" smtClean="0"/>
              <a:t>12. november 2020</a:t>
            </a:fld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FF2C9C36-93D2-4A10-A86A-EF5C42FFDE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8" name="Picture Placeholder 12">
            <a:extLst>
              <a:ext uri="{FF2B5EF4-FFF2-40B4-BE49-F238E27FC236}">
                <a16:creationId xmlns:a16="http://schemas.microsoft.com/office/drawing/2014/main" xmlns="" id="{26D71D1A-CF0E-4348-B86D-A389B1DEAE73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60000" y="140400"/>
            <a:ext cx="1807200" cy="392400"/>
          </a:xfr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da-DK" noProof="0"/>
              <a:t>Indsæt logo: Klik på ikonet eller pladsholderen, find logo, klik indsæt</a:t>
            </a:r>
          </a:p>
        </p:txBody>
      </p:sp>
    </p:spTree>
    <p:extLst>
      <p:ext uri="{BB962C8B-B14F-4D97-AF65-F5344CB8AC3E}">
        <p14:creationId xmlns:p14="http://schemas.microsoft.com/office/powerpoint/2010/main" val="239987223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880">
          <p15:clr>
            <a:srgbClr val="000000"/>
          </p15:clr>
        </p15:guide>
        <p15:guide id="2" pos="2757" userDrawn="1">
          <p15:clr>
            <a:srgbClr val="000000"/>
          </p15:clr>
        </p15:guide>
        <p15:guide id="3" pos="1555" userDrawn="1">
          <p15:clr>
            <a:srgbClr val="000000"/>
          </p15:clr>
        </p15:guide>
        <p15:guide id="4" pos="1678" userDrawn="1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967237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19" imgW="355" imgH="359" progId="TCLayout.ActiveDocument.1">
                  <p:embed/>
                </p:oleObj>
              </mc:Choice>
              <mc:Fallback>
                <p:oleObj name="think-cell Slide" r:id="rId19" imgW="355" imgH="35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25000"/>
              </a:lnSpc>
            </a:pPr>
            <a:endParaRPr lang="da-DK" sz="2600" b="1" i="0" baseline="0" noProof="0" dirty="0" err="1">
              <a:latin typeface="Verdana"/>
              <a:ea typeface="+mn-ea"/>
              <a:cs typeface="+mn-cs"/>
              <a:sym typeface="Verdana"/>
            </a:endParaRP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xmlns="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651" y="1150629"/>
            <a:ext cx="8029573" cy="11798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i master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651" y="2331557"/>
            <a:ext cx="8027987" cy="36723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6165669" y="6418800"/>
            <a:ext cx="2241483" cy="16755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 b="1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Date_GeneralDate"/>
          <p:cNvSpPr>
            <a:spLocks noGrp="1"/>
          </p:cNvSpPr>
          <p:nvPr>
            <p:ph type="dt" sz="half" idx="2"/>
          </p:nvPr>
        </p:nvSpPr>
        <p:spPr>
          <a:xfrm>
            <a:off x="6165669" y="6591194"/>
            <a:ext cx="2241483" cy="108000"/>
          </a:xfrm>
          <a:prstGeom prst="rect">
            <a:avLst/>
          </a:prstGeom>
        </p:spPr>
        <p:txBody>
          <a:bodyPr vert="horz" wrap="square" lIns="0" tIns="0" rIns="0" bIns="0" rtlCol="0" anchor="ctr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0F7E49E4-2702-4F1F-829B-6774A117D379}" type="datetime2">
              <a:rPr lang="da-DK" smtClean="0"/>
              <a:t>12. november 2020</a:t>
            </a:fld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63940" y="6591194"/>
            <a:ext cx="480060" cy="108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5" name="Vertikal linje sidenummer">
            <a:extLst>
              <a:ext uri="{FF2B5EF4-FFF2-40B4-BE49-F238E27FC236}">
                <a16:creationId xmlns:a16="http://schemas.microsoft.com/office/drawing/2014/main" xmlns="" id="{F822B268-4765-4695-ACA7-387607C592C7}"/>
              </a:ext>
            </a:extLst>
          </p:cNvPr>
          <p:cNvSpPr/>
          <p:nvPr/>
        </p:nvSpPr>
        <p:spPr>
          <a:xfrm>
            <a:off x="8531861" y="6492038"/>
            <a:ext cx="43200" cy="190800"/>
          </a:xfrm>
          <a:prstGeom prst="rect">
            <a:avLst/>
          </a:prstGeom>
          <a:solidFill>
            <a:srgbClr val="0028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46" r:id="rId2"/>
    <p:sldLayoutId id="2147483761" r:id="rId3"/>
    <p:sldLayoutId id="2147483749" r:id="rId4"/>
    <p:sldLayoutId id="2147483759" r:id="rId5"/>
    <p:sldLayoutId id="2147483760" r:id="rId6"/>
    <p:sldLayoutId id="2147483751" r:id="rId7"/>
    <p:sldLayoutId id="2147483753" r:id="rId8"/>
    <p:sldLayoutId id="2147483754" r:id="rId9"/>
    <p:sldLayoutId id="2147483752" r:id="rId10"/>
    <p:sldLayoutId id="2147483743" r:id="rId11"/>
    <p:sldLayoutId id="2147483744" r:id="rId12"/>
    <p:sldLayoutId id="2147483757" r:id="rId13"/>
    <p:sldLayoutId id="2147483758" r:id="rId14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102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25000"/>
        </a:lnSpc>
        <a:spcBef>
          <a:spcPts val="1800"/>
        </a:spcBef>
        <a:buFont typeface="Verdana" panose="020B060403050404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76000" indent="-288000" algn="l" defTabSz="685800" rtl="0" eaLnBrk="1" latinLnBrk="0" hangingPunct="1">
        <a:lnSpc>
          <a:spcPct val="125000"/>
        </a:lnSpc>
        <a:spcBef>
          <a:spcPts val="1800"/>
        </a:spcBef>
        <a:buFont typeface="Verdana" panose="020B060403050404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64000" indent="-288000" algn="l" defTabSz="685800" rtl="0" eaLnBrk="1" latinLnBrk="0" hangingPunct="1">
        <a:lnSpc>
          <a:spcPct val="125000"/>
        </a:lnSpc>
        <a:spcBef>
          <a:spcPts val="1800"/>
        </a:spcBef>
        <a:buFont typeface="Verdana" panose="020B060403050404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88000" algn="l" defTabSz="685800" rtl="0" eaLnBrk="1" latinLnBrk="0" hangingPunct="1">
        <a:lnSpc>
          <a:spcPct val="125000"/>
        </a:lnSpc>
        <a:spcBef>
          <a:spcPts val="1800"/>
        </a:spcBef>
        <a:buFont typeface="Verdana" panose="020B060403050404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88000" algn="l" defTabSz="685800" rtl="0" eaLnBrk="1" latinLnBrk="0" hangingPunct="1">
        <a:lnSpc>
          <a:spcPct val="125000"/>
        </a:lnSpc>
        <a:spcBef>
          <a:spcPts val="1800"/>
        </a:spcBef>
        <a:buFont typeface="Verdana" panose="020B060403050404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88000" algn="l" defTabSz="685800" rtl="0" eaLnBrk="1" latinLnBrk="0" hangingPunct="1">
        <a:lnSpc>
          <a:spcPct val="125000"/>
        </a:lnSpc>
        <a:spcBef>
          <a:spcPts val="1800"/>
        </a:spcBef>
        <a:buFont typeface="Verdana" panose="020B060403050404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864000" indent="-288000" algn="l" defTabSz="685800" rtl="0" eaLnBrk="1" latinLnBrk="0" hangingPunct="1">
        <a:lnSpc>
          <a:spcPct val="125000"/>
        </a:lnSpc>
        <a:spcBef>
          <a:spcPts val="1800"/>
        </a:spcBef>
        <a:buFont typeface="Verdana" panose="020B0604030504040204" pitchFamily="34" charset="0"/>
        <a:buChar char="●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288000" algn="l" defTabSz="685800" rtl="0" eaLnBrk="1" latinLnBrk="0" hangingPunct="1">
        <a:lnSpc>
          <a:spcPct val="125000"/>
        </a:lnSpc>
        <a:spcBef>
          <a:spcPts val="1800"/>
        </a:spcBef>
        <a:buFont typeface="Verdana" panose="020B0604030504040204" pitchFamily="34" charset="0"/>
        <a:buChar char="●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864000" indent="-288000" algn="l" defTabSz="685800" rtl="0" eaLnBrk="1" latinLnBrk="0" hangingPunct="1">
        <a:lnSpc>
          <a:spcPct val="125000"/>
        </a:lnSpc>
        <a:spcBef>
          <a:spcPts val="1800"/>
        </a:spcBef>
        <a:buFont typeface="Verdana" panose="020B0604030504040204" pitchFamily="34" charset="0"/>
        <a:buChar char="●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2" pos="476" userDrawn="1">
          <p15:clr>
            <a:srgbClr val="F26B43"/>
          </p15:clr>
        </p15:guide>
        <p15:guide id="3" orient="horz" pos="725" userDrawn="1">
          <p15:clr>
            <a:srgbClr val="F26B43"/>
          </p15:clr>
        </p15:guide>
        <p15:guide id="5" orient="horz" pos="3782" userDrawn="1">
          <p15:clr>
            <a:srgbClr val="F26B43"/>
          </p15:clr>
        </p15:guide>
        <p15:guide id="6" orient="horz" pos="1179" userDrawn="1">
          <p15:clr>
            <a:srgbClr val="F26B43"/>
          </p15:clr>
        </p15:guide>
        <p15:guide id="7" orient="horz" pos="1468" userDrawn="1">
          <p15:clr>
            <a:srgbClr val="F26B43"/>
          </p15:clr>
        </p15:guide>
        <p15:guide id="8" pos="553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tags" Target="../tags/tag44.xml"/><Relationship Id="rId47" Type="http://schemas.openxmlformats.org/officeDocument/2006/relationships/slideLayout" Target="../slideLayouts/slideLayout7.xml"/><Relationship Id="rId50" Type="http://schemas.openxmlformats.org/officeDocument/2006/relationships/image" Target="../media/image12.png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tags" Target="../tags/tag31.xml"/><Relationship Id="rId41" Type="http://schemas.openxmlformats.org/officeDocument/2006/relationships/tags" Target="../tags/tag43.xml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image" Target="../media/image1.emf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oleObject" Target="../embeddings/oleObject2.bin"/><Relationship Id="rId8" Type="http://schemas.openxmlformats.org/officeDocument/2006/relationships/tags" Target="../tags/tag10.xml"/><Relationship Id="rId51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66628959-8238-4B94-B3C8-9781A2A8E4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7727" y="2117322"/>
            <a:ext cx="8133851" cy="1933617"/>
          </a:xfrm>
        </p:spPr>
        <p:txBody>
          <a:bodyPr/>
          <a:lstStyle/>
          <a:p>
            <a:r>
              <a:rPr lang="da-DK" dirty="0" smtClean="0"/>
              <a:t>Aid to </a:t>
            </a:r>
            <a:r>
              <a:rPr lang="da-DK" dirty="0" err="1" smtClean="0"/>
              <a:t>Prioritize</a:t>
            </a:r>
            <a:r>
              <a:rPr lang="da-DK" dirty="0" smtClean="0"/>
              <a:t> Fire </a:t>
            </a:r>
            <a:r>
              <a:rPr lang="da-DK" dirty="0" err="1" smtClean="0"/>
              <a:t>Prevention</a:t>
            </a:r>
            <a:r>
              <a:rPr lang="da-DK" dirty="0" smtClean="0"/>
              <a:t> </a:t>
            </a:r>
            <a:r>
              <a:rPr lang="da-DK" dirty="0" err="1" smtClean="0"/>
              <a:t>Efforts</a:t>
            </a:r>
            <a:endParaRPr lang="da-DK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xmlns="" id="{B653F261-9051-40F8-97E9-F3DD75951F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7936" y="4182887"/>
            <a:ext cx="5422613" cy="1519743"/>
          </a:xfrm>
        </p:spPr>
        <p:txBody>
          <a:bodyPr/>
          <a:lstStyle/>
          <a:p>
            <a:r>
              <a:rPr lang="da-DK" sz="1600" b="1" dirty="0">
                <a:solidFill>
                  <a:schemeClr val="accent1">
                    <a:lumMod val="50000"/>
                  </a:schemeClr>
                </a:solidFill>
              </a:rPr>
              <a:t>F</a:t>
            </a:r>
            <a:r>
              <a:rPr lang="da-DK" sz="1600" b="1" dirty="0" smtClean="0">
                <a:solidFill>
                  <a:schemeClr val="accent1">
                    <a:lumMod val="50000"/>
                  </a:schemeClr>
                </a:solidFill>
              </a:rPr>
              <a:t>ire </a:t>
            </a:r>
            <a:r>
              <a:rPr lang="da-DK" sz="1600" b="1" dirty="0" err="1" smtClean="0">
                <a:solidFill>
                  <a:schemeClr val="accent1">
                    <a:lumMod val="50000"/>
                  </a:schemeClr>
                </a:solidFill>
              </a:rPr>
              <a:t>probability</a:t>
            </a:r>
            <a:r>
              <a:rPr lang="da-DK" sz="16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a-DK" sz="1600" b="1" dirty="0" err="1" smtClean="0">
                <a:solidFill>
                  <a:schemeClr val="accent1">
                    <a:lumMod val="50000"/>
                  </a:schemeClr>
                </a:solidFill>
              </a:rPr>
              <a:t>maps</a:t>
            </a:r>
            <a:r>
              <a:rPr lang="da-DK" sz="1600" b="1" dirty="0" smtClean="0">
                <a:solidFill>
                  <a:schemeClr val="accent1">
                    <a:lumMod val="50000"/>
                  </a:schemeClr>
                </a:solidFill>
              </a:rPr>
              <a:t> for decision support</a:t>
            </a:r>
            <a:endParaRPr lang="da-DK" dirty="0" smtClean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359C9505-5745-4BBF-84DD-541D2B6BBC2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a-DK" dirty="0" smtClean="0"/>
              <a:t>2020-11-13</a:t>
            </a:r>
            <a:endParaRPr lang="da-DK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xmlns="" id="{5528DBC3-CD84-4700-8EA9-F2980D3B9F2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766378" y="6520103"/>
            <a:ext cx="3611243" cy="167777"/>
          </a:xfrm>
        </p:spPr>
        <p:txBody>
          <a:bodyPr/>
          <a:lstStyle/>
          <a:p>
            <a:r>
              <a:rPr lang="da-DK" dirty="0" smtClean="0"/>
              <a:t>Center  for Knowledge and Analysis | DEMA</a:t>
            </a:r>
            <a:endParaRPr lang="da-DK" dirty="0"/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xmlns="" id="{0B8B5F8F-5DDB-4726-8C55-1CB2CB6C9A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92991A-28B5-4920-BBFE-B7C226159A6E}" type="datetime2">
              <a:rPr lang="da-DK" smtClean="0"/>
              <a:pPr/>
              <a:t>12. november 2020</a:t>
            </a:fld>
            <a:endParaRPr lang="da-DK" dirty="0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xmlns="" id="{95ED36FE-7F10-4577-8701-F1F19C6D9D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xmlns="" id="{2659AEF8-4695-4E79-ACFF-753C7E148F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pPr/>
              <a:t>1</a:t>
            </a:fld>
            <a:endParaRPr lang="da-DK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xmlns="" id="{582E4512-AD98-421A-9EF6-766873CA1C1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75709" y="6077275"/>
            <a:ext cx="8192581" cy="45719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da-DK" dirty="0"/>
              <a:t> </a:t>
            </a:r>
            <a:r>
              <a:rPr lang="da-DK" dirty="0" smtClean="0"/>
              <a:t> </a:t>
            </a:r>
            <a:endParaRPr lang="da-DK" dirty="0"/>
          </a:p>
        </p:txBody>
      </p:sp>
      <p:pic>
        <p:nvPicPr>
          <p:cNvPr id="1026" name="Picture 2" descr="C:\Users\00474751\Desktop\Danish Emergency Management Agency_Blue_RGB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2932" y="230017"/>
            <a:ext cx="2648691" cy="693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00474751\Desktop\EU_CP-HA_E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854" y="210543"/>
            <a:ext cx="1178079" cy="1150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848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a-DK" dirty="0" smtClean="0"/>
              <a:t>    </a:t>
            </a:r>
            <a:endParaRPr lang="da-DK" dirty="0"/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xmlns="" id="{0B8B5F8F-5DDB-4726-8C55-1CB2CB6C9A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z="1100" dirty="0"/>
              <a:t>2020-11-13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xmlns="" id="{2659AEF8-4695-4E79-ACFF-753C7E148F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a-DK" dirty="0"/>
              <a:t>1</a:t>
            </a: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968" y="1941608"/>
            <a:ext cx="5827744" cy="38627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7" name="Text Placeholder 25">
            <a:extLst>
              <a:ext uri="{FF2B5EF4-FFF2-40B4-BE49-F238E27FC236}">
                <a16:creationId xmlns:a16="http://schemas.microsoft.com/office/drawing/2014/main" xmlns="" id="{5528DBC3-CD84-4700-8EA9-F2980D3B9F2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766378" y="6520103"/>
            <a:ext cx="3611243" cy="167777"/>
          </a:xfrm>
        </p:spPr>
        <p:txBody>
          <a:bodyPr/>
          <a:lstStyle/>
          <a:p>
            <a:r>
              <a:rPr lang="da-DK" dirty="0" smtClean="0"/>
              <a:t>Center  for Knowledge and Analysis | DEMA</a:t>
            </a:r>
            <a:endParaRPr lang="da-DK" dirty="0"/>
          </a:p>
        </p:txBody>
      </p:sp>
      <p:sp>
        <p:nvSpPr>
          <p:cNvPr id="5" name="Tekstboks 4"/>
          <p:cNvSpPr txBox="1"/>
          <p:nvPr/>
        </p:nvSpPr>
        <p:spPr>
          <a:xfrm>
            <a:off x="6550924" y="1941608"/>
            <a:ext cx="2021832" cy="398185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5000"/>
              </a:lnSpc>
            </a:pPr>
            <a:r>
              <a:rPr lang="da-DK" dirty="0"/>
              <a:t>O</a:t>
            </a:r>
            <a:r>
              <a:rPr lang="da-DK" dirty="0" smtClean="0"/>
              <a:t>utput:</a:t>
            </a: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da-DK" sz="1300" dirty="0" smtClean="0"/>
              <a:t>Tool</a:t>
            </a: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da-DK" sz="1300" dirty="0" smtClean="0"/>
              <a:t>Publications</a:t>
            </a:r>
          </a:p>
          <a:p>
            <a:pPr>
              <a:lnSpc>
                <a:spcPct val="125000"/>
              </a:lnSpc>
            </a:pPr>
            <a:endParaRPr lang="da-DK" sz="1200" dirty="0" smtClean="0"/>
          </a:p>
          <a:p>
            <a:pPr>
              <a:lnSpc>
                <a:spcPct val="125000"/>
              </a:lnSpc>
            </a:pPr>
            <a:r>
              <a:rPr lang="da-DK" dirty="0" err="1" smtClean="0"/>
              <a:t>Objectives</a:t>
            </a:r>
            <a:r>
              <a:rPr lang="da-DK" dirty="0" smtClean="0"/>
              <a:t>:</a:t>
            </a:r>
            <a:endParaRPr lang="da-DK" dirty="0"/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da-DK" sz="1300" dirty="0" err="1" smtClean="0"/>
              <a:t>Fewer</a:t>
            </a:r>
            <a:r>
              <a:rPr lang="da-DK" sz="1300" dirty="0" smtClean="0"/>
              <a:t> </a:t>
            </a:r>
            <a:r>
              <a:rPr lang="da-DK" sz="1300" dirty="0" err="1" smtClean="0"/>
              <a:t>building</a:t>
            </a:r>
            <a:r>
              <a:rPr lang="da-DK" sz="1300" dirty="0" smtClean="0"/>
              <a:t> fires</a:t>
            </a: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da-DK" sz="1300" dirty="0" err="1" smtClean="0"/>
              <a:t>Smarter</a:t>
            </a:r>
            <a:r>
              <a:rPr lang="da-DK" sz="1300" dirty="0" smtClean="0"/>
              <a:t> </a:t>
            </a:r>
            <a:r>
              <a:rPr lang="da-DK" sz="1300" dirty="0" err="1" smtClean="0"/>
              <a:t>spending</a:t>
            </a:r>
            <a:endParaRPr lang="da-DK" sz="1300" dirty="0" smtClean="0"/>
          </a:p>
          <a:p>
            <a:pPr>
              <a:lnSpc>
                <a:spcPct val="125000"/>
              </a:lnSpc>
            </a:pPr>
            <a:endParaRPr lang="da-DK" sz="1200" dirty="0"/>
          </a:p>
          <a:p>
            <a:pPr>
              <a:lnSpc>
                <a:spcPct val="125000"/>
              </a:lnSpc>
            </a:pPr>
            <a:r>
              <a:rPr lang="da-DK" dirty="0" err="1"/>
              <a:t>S</a:t>
            </a:r>
            <a:r>
              <a:rPr lang="da-DK" dirty="0" err="1" smtClean="0"/>
              <a:t>takeholders</a:t>
            </a:r>
            <a:r>
              <a:rPr lang="da-DK" dirty="0" smtClean="0"/>
              <a:t>:</a:t>
            </a: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da-DK" sz="1300" dirty="0" smtClean="0"/>
              <a:t>DEMA</a:t>
            </a: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da-DK" sz="1300" dirty="0" err="1" smtClean="0"/>
              <a:t>University</a:t>
            </a:r>
            <a:r>
              <a:rPr lang="da-DK" sz="1300" dirty="0" smtClean="0"/>
              <a:t> of CPH</a:t>
            </a: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da-DK" sz="1300" dirty="0" err="1" smtClean="0"/>
              <a:t>Municipal</a:t>
            </a:r>
            <a:r>
              <a:rPr lang="da-DK" sz="1300" dirty="0" smtClean="0"/>
              <a:t> firebrigades</a:t>
            </a: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da-DK" sz="1300" dirty="0" smtClean="0"/>
              <a:t>Data </a:t>
            </a:r>
            <a:r>
              <a:rPr lang="da-DK" sz="1300" dirty="0" err="1" smtClean="0"/>
              <a:t>supplier</a:t>
            </a:r>
            <a:endParaRPr lang="da-DK" sz="1300" dirty="0" smtClean="0"/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da-DK" sz="1300" dirty="0" smtClean="0"/>
              <a:t>Software </a:t>
            </a:r>
            <a:r>
              <a:rPr lang="da-DK" sz="1300" dirty="0" err="1" smtClean="0"/>
              <a:t>supplier</a:t>
            </a:r>
            <a:endParaRPr lang="da-DK" sz="1300" dirty="0" smtClean="0"/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</a:pPr>
            <a:endParaRPr lang="da-DK" sz="1200" dirty="0" smtClean="0"/>
          </a:p>
        </p:txBody>
      </p:sp>
      <p:pic>
        <p:nvPicPr>
          <p:cNvPr id="18" name="Picture 3" descr="C:\Users\00474751\Desktop\EU_CP-HA_E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854" y="210543"/>
            <a:ext cx="1178079" cy="1150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C:\Users\00474751\Desktop\Danish Emergency Management Agency_Blue_RGB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2932" y="230017"/>
            <a:ext cx="2648691" cy="693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 Placeholder 6">
            <a:extLst>
              <a:ext uri="{FF2B5EF4-FFF2-40B4-BE49-F238E27FC236}">
                <a16:creationId xmlns:a16="http://schemas.microsoft.com/office/drawing/2014/main" xmlns="" id="{582E4512-AD98-421A-9EF6-766873CA1C1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75709" y="6077275"/>
            <a:ext cx="8192581" cy="45719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da-DK" dirty="0"/>
              <a:t> </a:t>
            </a:r>
            <a:r>
              <a:rPr lang="da-DK" dirty="0" smtClean="0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82779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359C9505-5745-4BBF-84DD-541D2B6BBC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2" y="1839130"/>
            <a:ext cx="8029574" cy="3673475"/>
          </a:xfrm>
          <a:solidFill>
            <a:schemeClr val="bg1"/>
          </a:solidFill>
        </p:spPr>
        <p:txBody>
          <a:bodyPr/>
          <a:lstStyle/>
          <a:p>
            <a:pPr marL="0" lvl="0" indent="0">
              <a:lnSpc>
                <a:spcPct val="100000"/>
              </a:lnSpc>
              <a:buNone/>
            </a:pPr>
            <a:r>
              <a:rPr lang="da-DK" sz="2400" b="1" dirty="0" err="1" smtClean="0"/>
              <a:t>Approaches</a:t>
            </a:r>
            <a:endParaRPr lang="da-DK" sz="2400" b="1" dirty="0" smtClean="0"/>
          </a:p>
          <a:p>
            <a:pPr marL="288000" lvl="1" indent="0">
              <a:lnSpc>
                <a:spcPct val="100000"/>
              </a:lnSpc>
              <a:spcBef>
                <a:spcPts val="1200"/>
              </a:spcBef>
              <a:buClr>
                <a:schemeClr val="bg2"/>
              </a:buClr>
              <a:buNone/>
            </a:pPr>
            <a:endParaRPr lang="da-DK" sz="1500" dirty="0" smtClean="0"/>
          </a:p>
          <a:p>
            <a:pPr marL="0" indent="0">
              <a:lnSpc>
                <a:spcPct val="100000"/>
              </a:lnSpc>
              <a:spcBef>
                <a:spcPts val="1200"/>
              </a:spcBef>
              <a:buClr>
                <a:schemeClr val="bg2"/>
              </a:buClr>
              <a:buNone/>
            </a:pPr>
            <a:r>
              <a:rPr lang="da-DK" sz="1800" dirty="0" smtClean="0"/>
              <a:t>Machine </a:t>
            </a:r>
            <a:r>
              <a:rPr lang="da-DK" sz="1800" dirty="0" err="1" smtClean="0"/>
              <a:t>learning</a:t>
            </a:r>
            <a:r>
              <a:rPr lang="da-DK" sz="1800" dirty="0" smtClean="0"/>
              <a:t>, UCPH </a:t>
            </a:r>
            <a:r>
              <a:rPr lang="da-DK" sz="1800" dirty="0" err="1" smtClean="0"/>
              <a:t>Dept</a:t>
            </a:r>
            <a:r>
              <a:rPr lang="da-DK" sz="1800" dirty="0" smtClean="0"/>
              <a:t>. of Computer Science</a:t>
            </a:r>
          </a:p>
          <a:p>
            <a:pPr lvl="2">
              <a:lnSpc>
                <a:spcPct val="100000"/>
              </a:lnSpc>
              <a:spcBef>
                <a:spcPts val="1200"/>
              </a:spcBef>
              <a:buClr>
                <a:schemeClr val="bg2"/>
              </a:buClr>
              <a:buFont typeface="Wingdings" panose="05000000000000000000" pitchFamily="2" charset="2"/>
              <a:buChar char="Ø"/>
            </a:pPr>
            <a:r>
              <a:rPr lang="da-DK" sz="1500" dirty="0" err="1" smtClean="0"/>
              <a:t>Maximizes</a:t>
            </a:r>
            <a:r>
              <a:rPr lang="da-DK" sz="1500" dirty="0" smtClean="0"/>
              <a:t> </a:t>
            </a:r>
            <a:r>
              <a:rPr lang="da-DK" sz="1500" dirty="0" err="1" smtClean="0"/>
              <a:t>accuracy</a:t>
            </a:r>
            <a:endParaRPr lang="da-DK" sz="1500" dirty="0" smtClean="0"/>
          </a:p>
          <a:p>
            <a:pPr lvl="2">
              <a:lnSpc>
                <a:spcPct val="100000"/>
              </a:lnSpc>
              <a:spcBef>
                <a:spcPts val="1200"/>
              </a:spcBef>
              <a:buClr>
                <a:schemeClr val="bg2"/>
              </a:buClr>
              <a:buFont typeface="Wingdings" panose="05000000000000000000" pitchFamily="2" charset="2"/>
              <a:buChar char="Ø"/>
            </a:pPr>
            <a:r>
              <a:rPr lang="da-DK" sz="1500" dirty="0" smtClean="0"/>
              <a:t>Black </a:t>
            </a:r>
            <a:r>
              <a:rPr lang="da-DK" sz="1500" dirty="0" err="1" smtClean="0"/>
              <a:t>box</a:t>
            </a:r>
            <a:endParaRPr lang="da-DK" sz="1500" dirty="0" smtClean="0"/>
          </a:p>
          <a:p>
            <a:pPr marL="576000" lvl="2" indent="0">
              <a:lnSpc>
                <a:spcPct val="100000"/>
              </a:lnSpc>
              <a:spcBef>
                <a:spcPts val="1200"/>
              </a:spcBef>
              <a:buClr>
                <a:schemeClr val="bg2"/>
              </a:buClr>
              <a:buNone/>
            </a:pPr>
            <a:endParaRPr lang="da-DK" sz="1500" dirty="0" smtClean="0"/>
          </a:p>
          <a:p>
            <a:pPr marL="0" indent="0">
              <a:lnSpc>
                <a:spcPct val="100000"/>
              </a:lnSpc>
              <a:spcBef>
                <a:spcPts val="1200"/>
              </a:spcBef>
              <a:buClr>
                <a:schemeClr val="bg2"/>
              </a:buClr>
              <a:buNone/>
            </a:pPr>
            <a:r>
              <a:rPr lang="da-DK" sz="1800" dirty="0" err="1" smtClean="0"/>
              <a:t>Logistic</a:t>
            </a:r>
            <a:r>
              <a:rPr lang="da-DK" sz="1800" dirty="0" smtClean="0"/>
              <a:t> regression, DEMA and UCPH </a:t>
            </a:r>
            <a:r>
              <a:rPr lang="da-DK" sz="1800" dirty="0" err="1" smtClean="0"/>
              <a:t>Dept</a:t>
            </a:r>
            <a:r>
              <a:rPr lang="da-DK" sz="1800" dirty="0" smtClean="0"/>
              <a:t>. of Geoscience</a:t>
            </a:r>
          </a:p>
          <a:p>
            <a:pPr lvl="2">
              <a:lnSpc>
                <a:spcPct val="100000"/>
              </a:lnSpc>
              <a:spcBef>
                <a:spcPts val="1200"/>
              </a:spcBef>
              <a:buClr>
                <a:schemeClr val="bg2"/>
              </a:buClr>
              <a:buFont typeface="Wingdings" panose="05000000000000000000" pitchFamily="2" charset="2"/>
              <a:buChar char="Ø"/>
            </a:pPr>
            <a:r>
              <a:rPr lang="da-DK" sz="1500" dirty="0" smtClean="0"/>
              <a:t>Provides </a:t>
            </a:r>
            <a:r>
              <a:rPr lang="da-DK" sz="1500" dirty="0" err="1" smtClean="0"/>
              <a:t>explanation</a:t>
            </a:r>
            <a:endParaRPr lang="da-DK" sz="1500" dirty="0" smtClean="0"/>
          </a:p>
          <a:p>
            <a:pPr lvl="2">
              <a:lnSpc>
                <a:spcPct val="100000"/>
              </a:lnSpc>
              <a:spcBef>
                <a:spcPts val="1200"/>
              </a:spcBef>
              <a:buClr>
                <a:schemeClr val="bg2"/>
              </a:buClr>
              <a:buFont typeface="Wingdings" panose="05000000000000000000" pitchFamily="2" charset="2"/>
              <a:buChar char="Ø"/>
            </a:pPr>
            <a:r>
              <a:rPr lang="da-DK" sz="1500" dirty="0" smtClean="0"/>
              <a:t>White </a:t>
            </a:r>
            <a:r>
              <a:rPr lang="da-DK" sz="1500" dirty="0" err="1" smtClean="0"/>
              <a:t>box</a:t>
            </a:r>
            <a:endParaRPr lang="da-DK" sz="1500" dirty="0" smtClean="0"/>
          </a:p>
        </p:txBody>
      </p:sp>
      <p:sp>
        <p:nvSpPr>
          <p:cNvPr id="33" name="Pladsholder til tekst 32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a-DK" dirty="0" smtClean="0"/>
              <a:t>    </a:t>
            </a:r>
            <a:endParaRPr lang="da-DK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xmlns="" id="{2659AEF8-4695-4E79-ACFF-753C7E148F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a-DK" dirty="0" smtClean="0"/>
              <a:t>2</a:t>
            </a:r>
          </a:p>
        </p:txBody>
      </p:sp>
      <p:sp>
        <p:nvSpPr>
          <p:cNvPr id="22" name="Date Placeholder 12">
            <a:extLst>
              <a:ext uri="{FF2B5EF4-FFF2-40B4-BE49-F238E27FC236}">
                <a16:creationId xmlns:a16="http://schemas.microsoft.com/office/drawing/2014/main" xmlns="" id="{0B8B5F8F-5DDB-4726-8C55-1CB2CB6C9A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65669" y="6591194"/>
            <a:ext cx="2241483" cy="108000"/>
          </a:xfrm>
        </p:spPr>
        <p:txBody>
          <a:bodyPr/>
          <a:lstStyle/>
          <a:p>
            <a:r>
              <a:rPr lang="da-DK" sz="1100" dirty="0"/>
              <a:t>2020-11-13</a:t>
            </a:r>
          </a:p>
        </p:txBody>
      </p:sp>
      <p:sp>
        <p:nvSpPr>
          <p:cNvPr id="24" name="Text Placeholder 25">
            <a:extLst>
              <a:ext uri="{FF2B5EF4-FFF2-40B4-BE49-F238E27FC236}">
                <a16:creationId xmlns:a16="http://schemas.microsoft.com/office/drawing/2014/main" xmlns="" id="{5528DBC3-CD84-4700-8EA9-F2980D3B9F2D}"/>
              </a:ext>
            </a:extLst>
          </p:cNvPr>
          <p:cNvSpPr txBox="1">
            <a:spLocks/>
          </p:cNvSpPr>
          <p:nvPr/>
        </p:nvSpPr>
        <p:spPr>
          <a:xfrm>
            <a:off x="2766378" y="6520103"/>
            <a:ext cx="3611243" cy="167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None/>
              <a:defRPr sz="10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None/>
              <a:defRPr sz="10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6000" indent="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None/>
              <a:defRPr sz="10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None/>
              <a:defRPr sz="10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None/>
              <a:defRPr sz="10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smtClean="0"/>
              <a:t>Center  for Knowledge and Analysis | DEMA</a:t>
            </a:r>
            <a:endParaRPr lang="da-DK" dirty="0"/>
          </a:p>
        </p:txBody>
      </p:sp>
      <p:pic>
        <p:nvPicPr>
          <p:cNvPr id="19" name="Picture 2" descr="C:\Users\00474751\Desktop\Danish Emergency Management Agency_Blue_RGB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2932" y="230017"/>
            <a:ext cx="2648691" cy="693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" descr="C:\Users\00474751\Desktop\EU_CP-HA_E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854" y="210543"/>
            <a:ext cx="1178079" cy="1150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 Placeholder 6">
            <a:extLst>
              <a:ext uri="{FF2B5EF4-FFF2-40B4-BE49-F238E27FC236}">
                <a16:creationId xmlns:a16="http://schemas.microsoft.com/office/drawing/2014/main" xmlns="" id="{582E4512-AD98-421A-9EF6-766873CA1C1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75709" y="6077275"/>
            <a:ext cx="8192581" cy="45719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da-DK" dirty="0"/>
              <a:t> </a:t>
            </a:r>
            <a:r>
              <a:rPr lang="da-DK" dirty="0" smtClean="0"/>
              <a:t>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51658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67" name="Objekt 206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6533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48" imgW="355" imgH="359" progId="TCLayout.ActiveDocument.1">
                  <p:embed/>
                </p:oleObj>
              </mc:Choice>
              <mc:Fallback>
                <p:oleObj name="think-cell Slide" r:id="rId48" imgW="355" imgH="35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25000"/>
              </a:lnSpc>
            </a:pPr>
            <a:endParaRPr lang="da-DK" sz="1200" noProof="0" dirty="0" err="1">
              <a:latin typeface="Verdana"/>
              <a:sym typeface="Verdana"/>
            </a:endParaRPr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a-DK" dirty="0" smtClean="0"/>
              <a:t>   </a:t>
            </a:r>
            <a:endParaRPr lang="da-DK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xmlns="" id="{2659AEF8-4695-4E79-ACFF-753C7E148F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a-DK" dirty="0" smtClean="0"/>
              <a:t>3</a:t>
            </a:r>
            <a:endParaRPr lang="da-DK" dirty="0"/>
          </a:p>
        </p:txBody>
      </p:sp>
      <p:sp>
        <p:nvSpPr>
          <p:cNvPr id="20" name="Text Placeholder 25">
            <a:extLst>
              <a:ext uri="{FF2B5EF4-FFF2-40B4-BE49-F238E27FC236}">
                <a16:creationId xmlns:a16="http://schemas.microsoft.com/office/drawing/2014/main" xmlns="" id="{5528DBC3-CD84-4700-8EA9-F2980D3B9F2D}"/>
              </a:ext>
            </a:extLst>
          </p:cNvPr>
          <p:cNvSpPr txBox="1">
            <a:spLocks/>
          </p:cNvSpPr>
          <p:nvPr/>
        </p:nvSpPr>
        <p:spPr>
          <a:xfrm>
            <a:off x="2766378" y="6520103"/>
            <a:ext cx="3611243" cy="1677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None/>
              <a:defRPr sz="10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None/>
              <a:defRPr sz="10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6000" indent="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None/>
              <a:defRPr sz="10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None/>
              <a:defRPr sz="10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None/>
              <a:defRPr sz="10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smtClean="0"/>
              <a:t>Center  for Knowledge and Analysis | DEMA</a:t>
            </a:r>
            <a:endParaRPr lang="da-DK" dirty="0"/>
          </a:p>
        </p:txBody>
      </p:sp>
      <p:sp>
        <p:nvSpPr>
          <p:cNvPr id="22" name="Date Placeholder 12">
            <a:extLst>
              <a:ext uri="{FF2B5EF4-FFF2-40B4-BE49-F238E27FC236}">
                <a16:creationId xmlns:a16="http://schemas.microsoft.com/office/drawing/2014/main" xmlns="" id="{0B8B5F8F-5DDB-4726-8C55-1CB2CB6C9A3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165669" y="6591194"/>
            <a:ext cx="2241483" cy="108000"/>
          </a:xfrm>
        </p:spPr>
        <p:txBody>
          <a:bodyPr/>
          <a:lstStyle/>
          <a:p>
            <a:r>
              <a:rPr lang="da-DK" sz="1100" dirty="0"/>
              <a:t>2020-11-13</a:t>
            </a:r>
          </a:p>
        </p:txBody>
      </p:sp>
      <p:pic>
        <p:nvPicPr>
          <p:cNvPr id="14" name="Picture 3" descr="C:\Users\00474751\Desktop\EU_CP-HA_EN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854" y="210543"/>
            <a:ext cx="1178079" cy="1150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C:\Users\00474751\Desktop\Danish Emergency Management Agency_Blue_RGB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2932" y="230017"/>
            <a:ext cx="2648691" cy="693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 Placeholder 6">
            <a:extLst>
              <a:ext uri="{FF2B5EF4-FFF2-40B4-BE49-F238E27FC236}">
                <a16:creationId xmlns:a16="http://schemas.microsoft.com/office/drawing/2014/main" xmlns="" id="{582E4512-AD98-421A-9EF6-766873CA1C1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75709" y="6077275"/>
            <a:ext cx="8192581" cy="45719"/>
          </a:xfrm>
          <a:prstGeom prst="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/>
          <a:lstStyle/>
          <a:p>
            <a:pPr marL="0" indent="0">
              <a:buNone/>
            </a:pPr>
            <a:r>
              <a:rPr lang="da-DK" dirty="0"/>
              <a:t> </a:t>
            </a:r>
            <a:r>
              <a:rPr lang="da-DK" dirty="0" smtClean="0"/>
              <a:t> </a:t>
            </a:r>
            <a:endParaRPr lang="da-DK" dirty="0"/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847975" y="1555750"/>
            <a:ext cx="1349375" cy="276225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88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71375E-3877-4AC6-88F0-38357547F37B}" type="datetime'''''''''''''''''''''''''''2''''''''''02''''''''0'''''''">
              <a:rPr lang="da-DK" altLang="en-US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da-DK" b="1" noProof="0" dirty="0">
              <a:sym typeface="+mn-lt"/>
            </a:endParaRPr>
          </a:p>
        </p:txBody>
      </p:sp>
      <p:sp>
        <p:nvSpPr>
          <p:cNvPr id="46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197350" y="1555750"/>
            <a:ext cx="4005263" cy="276225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88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FA68E6-EE6D-4918-BECC-3DFBDB9B1093}" type="datetime'''''''''''''''''''''2''''02''''''1'''''''''''">
              <a:rPr lang="da-DK" altLang="en-US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da-DK" b="1" noProof="0" dirty="0">
              <a:sym typeface="+mn-lt"/>
            </a:endParaRPr>
          </a:p>
        </p:txBody>
      </p:sp>
      <p:sp>
        <p:nvSpPr>
          <p:cNvPr id="143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847975" y="1831975"/>
            <a:ext cx="1349375" cy="276225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88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FCC520-6CA4-499D-A1AE-7FFEEA00930C}" type="datetime'''''''''''''''''''''''Q''''''''''''''''4'''''''''''">
              <a:rPr lang="da-DK" altLang="en-US" b="1" smtClean="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Q4</a:t>
            </a:fld>
            <a:endParaRPr lang="da-DK" b="1" noProof="0" dirty="0">
              <a:sym typeface="+mn-lt"/>
            </a:endParaRPr>
          </a:p>
        </p:txBody>
      </p:sp>
      <p:sp>
        <p:nvSpPr>
          <p:cNvPr id="144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197350" y="1831975"/>
            <a:ext cx="1320800" cy="276225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88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0B29AD-8A3C-4B2A-8A22-9E53C8A67032}" type="datetime'''''''''''''''''Q1'''''''''''''''''''''''''">
              <a:rPr lang="da-DK" altLang="en-US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Q1</a:t>
            </a:fld>
            <a:endParaRPr lang="da-DK" b="1" noProof="0" dirty="0">
              <a:sym typeface="+mn-lt"/>
            </a:endParaRPr>
          </a:p>
        </p:txBody>
      </p:sp>
      <p:sp>
        <p:nvSpPr>
          <p:cNvPr id="145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518149" y="1831975"/>
            <a:ext cx="1335088" cy="276225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88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73AC36-939E-41AD-9C88-AB39235431CE}" type="datetime'''Q''''''2'''''''''''''''''''">
              <a:rPr lang="da-DK" altLang="en-US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Q2</a:t>
            </a:fld>
            <a:endParaRPr lang="da-DK" b="1" noProof="0" dirty="0">
              <a:sym typeface="+mn-lt"/>
            </a:endParaRPr>
          </a:p>
        </p:txBody>
      </p:sp>
      <p:sp>
        <p:nvSpPr>
          <p:cNvPr id="146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853238" y="1831975"/>
            <a:ext cx="1349375" cy="276225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88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A1B847-D8DF-40B4-B911-E5C6D4B112D1}" type="datetime'''Q''''''''3'''''''''''''''''''''''''">
              <a:rPr lang="da-DK" altLang="en-US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Q3</a:t>
            </a:fld>
            <a:endParaRPr lang="da-DK" b="1" noProof="0" dirty="0">
              <a:sym typeface="+mn-lt"/>
            </a:endParaRPr>
          </a:p>
        </p:txBody>
      </p:sp>
      <p:cxnSp>
        <p:nvCxnSpPr>
          <p:cNvPr id="2064" name="Lige forbindelse 2063"/>
          <p:cNvCxnSpPr/>
          <p:nvPr>
            <p:custDataLst>
              <p:tags r:id="rId10"/>
            </p:custDataLst>
          </p:nvPr>
        </p:nvCxnSpPr>
        <p:spPr bwMode="auto">
          <a:xfrm>
            <a:off x="531813" y="2108200"/>
            <a:ext cx="0" cy="30559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3" name="Lige forbindelse 2072"/>
          <p:cNvCxnSpPr/>
          <p:nvPr>
            <p:custDataLst>
              <p:tags r:id="rId11"/>
            </p:custDataLst>
          </p:nvPr>
        </p:nvCxnSpPr>
        <p:spPr bwMode="auto">
          <a:xfrm>
            <a:off x="4652963" y="2108200"/>
            <a:ext cx="0" cy="3055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2" name="Lige forbindelse 2061"/>
          <p:cNvCxnSpPr/>
          <p:nvPr>
            <p:custDataLst>
              <p:tags r:id="rId12"/>
            </p:custDataLst>
          </p:nvPr>
        </p:nvCxnSpPr>
        <p:spPr bwMode="auto">
          <a:xfrm>
            <a:off x="2847975" y="2108200"/>
            <a:ext cx="0" cy="30559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Lige forbindelse 47"/>
          <p:cNvCxnSpPr/>
          <p:nvPr>
            <p:custDataLst>
              <p:tags r:id="rId13"/>
            </p:custDataLst>
          </p:nvPr>
        </p:nvCxnSpPr>
        <p:spPr bwMode="auto">
          <a:xfrm>
            <a:off x="7762875" y="2108200"/>
            <a:ext cx="0" cy="3055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7" name="Lige forbindelse 2076"/>
          <p:cNvCxnSpPr/>
          <p:nvPr>
            <p:custDataLst>
              <p:tags r:id="rId14"/>
            </p:custDataLst>
          </p:nvPr>
        </p:nvCxnSpPr>
        <p:spPr bwMode="auto">
          <a:xfrm>
            <a:off x="6413500" y="2108200"/>
            <a:ext cx="0" cy="3055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6" name="Lige forbindelse 2075"/>
          <p:cNvCxnSpPr/>
          <p:nvPr>
            <p:custDataLst>
              <p:tags r:id="rId15"/>
            </p:custDataLst>
          </p:nvPr>
        </p:nvCxnSpPr>
        <p:spPr bwMode="auto">
          <a:xfrm>
            <a:off x="5957888" y="2108200"/>
            <a:ext cx="0" cy="3055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Lige forbindelse 11"/>
          <p:cNvCxnSpPr/>
          <p:nvPr>
            <p:custDataLst>
              <p:tags r:id="rId16"/>
            </p:custDataLst>
          </p:nvPr>
        </p:nvCxnSpPr>
        <p:spPr bwMode="auto">
          <a:xfrm>
            <a:off x="3743325" y="2108200"/>
            <a:ext cx="0" cy="3055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3" name="Lige forbindelse 2062"/>
          <p:cNvCxnSpPr/>
          <p:nvPr>
            <p:custDataLst>
              <p:tags r:id="rId17"/>
            </p:custDataLst>
          </p:nvPr>
        </p:nvCxnSpPr>
        <p:spPr bwMode="auto">
          <a:xfrm>
            <a:off x="8202613" y="2108200"/>
            <a:ext cx="0" cy="3055938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4" name="Lige forbindelse 2073"/>
          <p:cNvCxnSpPr/>
          <p:nvPr>
            <p:custDataLst>
              <p:tags r:id="rId18"/>
            </p:custDataLst>
          </p:nvPr>
        </p:nvCxnSpPr>
        <p:spPr bwMode="auto">
          <a:xfrm>
            <a:off x="5062538" y="2108200"/>
            <a:ext cx="0" cy="3055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9" name="Lige forbindelse 2078"/>
          <p:cNvCxnSpPr/>
          <p:nvPr>
            <p:custDataLst>
              <p:tags r:id="rId19"/>
            </p:custDataLst>
          </p:nvPr>
        </p:nvCxnSpPr>
        <p:spPr bwMode="auto">
          <a:xfrm>
            <a:off x="7307263" y="2108200"/>
            <a:ext cx="0" cy="3055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Lige forbindelse 9"/>
          <p:cNvCxnSpPr/>
          <p:nvPr>
            <p:custDataLst>
              <p:tags r:id="rId20"/>
            </p:custDataLst>
          </p:nvPr>
        </p:nvCxnSpPr>
        <p:spPr bwMode="auto">
          <a:xfrm>
            <a:off x="3302000" y="2108200"/>
            <a:ext cx="0" cy="3055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Lige forbindelse 7"/>
          <p:cNvCxnSpPr/>
          <p:nvPr>
            <p:custDataLst>
              <p:tags r:id="rId21"/>
            </p:custDataLst>
          </p:nvPr>
        </p:nvCxnSpPr>
        <p:spPr bwMode="auto">
          <a:xfrm>
            <a:off x="531813" y="3635375"/>
            <a:ext cx="7670800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6" name="Lige forbindelse 2065"/>
          <p:cNvCxnSpPr/>
          <p:nvPr>
            <p:custDataLst>
              <p:tags r:id="rId22"/>
            </p:custDataLst>
          </p:nvPr>
        </p:nvCxnSpPr>
        <p:spPr bwMode="auto">
          <a:xfrm>
            <a:off x="531813" y="5164138"/>
            <a:ext cx="767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0" name="Lige forbindelse 2089"/>
          <p:cNvCxnSpPr/>
          <p:nvPr>
            <p:custDataLst>
              <p:tags r:id="rId23"/>
            </p:custDataLst>
          </p:nvPr>
        </p:nvCxnSpPr>
        <p:spPr bwMode="auto">
          <a:xfrm>
            <a:off x="4197350" y="2108200"/>
            <a:ext cx="0" cy="32305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3" name="Lige forbindelse 2092"/>
          <p:cNvCxnSpPr/>
          <p:nvPr>
            <p:custDataLst>
              <p:tags r:id="rId24"/>
            </p:custDataLst>
          </p:nvPr>
        </p:nvCxnSpPr>
        <p:spPr bwMode="auto">
          <a:xfrm>
            <a:off x="5518150" y="2108200"/>
            <a:ext cx="0" cy="32305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7" name="Lige forbindelse 2096"/>
          <p:cNvCxnSpPr/>
          <p:nvPr>
            <p:custDataLst>
              <p:tags r:id="rId25"/>
            </p:custDataLst>
          </p:nvPr>
        </p:nvCxnSpPr>
        <p:spPr bwMode="auto">
          <a:xfrm>
            <a:off x="8202613" y="2108200"/>
            <a:ext cx="0" cy="32305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5" name="Lige forbindelse 2094"/>
          <p:cNvCxnSpPr/>
          <p:nvPr>
            <p:custDataLst>
              <p:tags r:id="rId26"/>
            </p:custDataLst>
          </p:nvPr>
        </p:nvCxnSpPr>
        <p:spPr bwMode="auto">
          <a:xfrm>
            <a:off x="6853238" y="2108200"/>
            <a:ext cx="0" cy="323056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5" name="Lige forbindelse 2064"/>
          <p:cNvCxnSpPr/>
          <p:nvPr>
            <p:custDataLst>
              <p:tags r:id="rId27"/>
            </p:custDataLst>
          </p:nvPr>
        </p:nvCxnSpPr>
        <p:spPr bwMode="auto">
          <a:xfrm>
            <a:off x="531813" y="2108200"/>
            <a:ext cx="767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8" name="Rektangel 2087"/>
          <p:cNvSpPr/>
          <p:nvPr>
            <p:custDataLst>
              <p:tags r:id="rId28"/>
            </p:custDataLst>
          </p:nvPr>
        </p:nvSpPr>
        <p:spPr bwMode="auto">
          <a:xfrm>
            <a:off x="3743325" y="4037013"/>
            <a:ext cx="454025" cy="7937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5000"/>
              </a:lnSpc>
            </a:pPr>
            <a:endParaRPr lang="da-DK" sz="1200" noProof="0" dirty="0" err="1"/>
          </a:p>
        </p:txBody>
      </p:sp>
      <p:sp>
        <p:nvSpPr>
          <p:cNvPr id="2087" name="Rektangel 2086"/>
          <p:cNvSpPr/>
          <p:nvPr>
            <p:custDataLst>
              <p:tags r:id="rId29"/>
            </p:custDataLst>
          </p:nvPr>
        </p:nvSpPr>
        <p:spPr bwMode="auto">
          <a:xfrm>
            <a:off x="4652962" y="4694238"/>
            <a:ext cx="865188" cy="7937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tx2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5000"/>
              </a:lnSpc>
            </a:pPr>
            <a:endParaRPr lang="da-DK" sz="1200" noProof="0" dirty="0" err="1"/>
          </a:p>
        </p:txBody>
      </p:sp>
      <p:sp>
        <p:nvSpPr>
          <p:cNvPr id="2086" name="Rektangel 2085"/>
          <p:cNvSpPr/>
          <p:nvPr>
            <p:custDataLst>
              <p:tags r:id="rId30"/>
            </p:custDataLst>
          </p:nvPr>
        </p:nvSpPr>
        <p:spPr bwMode="gray">
          <a:xfrm>
            <a:off x="5518150" y="4694238"/>
            <a:ext cx="2679700" cy="79375"/>
          </a:xfrm>
          <a:prstGeom prst="rect">
            <a:avLst/>
          </a:prstGeom>
          <a:solidFill>
            <a:schemeClr val="tx2"/>
          </a:solidFill>
          <a:ln w="190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5000"/>
              </a:lnSpc>
            </a:pPr>
            <a:endParaRPr lang="da-DK" sz="1200" noProof="0" dirty="0" err="1"/>
          </a:p>
        </p:txBody>
      </p:sp>
      <p:sp>
        <p:nvSpPr>
          <p:cNvPr id="2085" name="Rektangel 2084"/>
          <p:cNvSpPr/>
          <p:nvPr>
            <p:custDataLst>
              <p:tags r:id="rId31"/>
            </p:custDataLst>
          </p:nvPr>
        </p:nvSpPr>
        <p:spPr bwMode="gray">
          <a:xfrm>
            <a:off x="4197349" y="4037013"/>
            <a:ext cx="2655888" cy="79375"/>
          </a:xfrm>
          <a:prstGeom prst="rect">
            <a:avLst/>
          </a:prstGeom>
          <a:solidFill>
            <a:schemeClr val="tx2"/>
          </a:solidFill>
          <a:ln w="190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5000"/>
              </a:lnSpc>
            </a:pPr>
            <a:endParaRPr lang="da-DK" sz="1200" noProof="0" dirty="0" err="1"/>
          </a:p>
        </p:txBody>
      </p:sp>
      <p:sp>
        <p:nvSpPr>
          <p:cNvPr id="2083" name="Rektangel 2082"/>
          <p:cNvSpPr/>
          <p:nvPr>
            <p:custDataLst>
              <p:tags r:id="rId32"/>
            </p:custDataLst>
          </p:nvPr>
        </p:nvSpPr>
        <p:spPr bwMode="gray">
          <a:xfrm>
            <a:off x="2852738" y="2508250"/>
            <a:ext cx="5345113" cy="79375"/>
          </a:xfrm>
          <a:prstGeom prst="rect">
            <a:avLst/>
          </a:prstGeom>
          <a:solidFill>
            <a:schemeClr val="tx2"/>
          </a:solidFill>
          <a:ln w="190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5000"/>
              </a:lnSpc>
            </a:pPr>
            <a:endParaRPr lang="da-DK" sz="1200" noProof="0" dirty="0" err="1"/>
          </a:p>
        </p:txBody>
      </p:sp>
      <p:sp>
        <p:nvSpPr>
          <p:cNvPr id="2084" name="Rektangel 2083"/>
          <p:cNvSpPr/>
          <p:nvPr>
            <p:custDataLst>
              <p:tags r:id="rId33"/>
            </p:custDataLst>
          </p:nvPr>
        </p:nvSpPr>
        <p:spPr bwMode="gray">
          <a:xfrm>
            <a:off x="2852738" y="3165475"/>
            <a:ext cx="1344613" cy="79375"/>
          </a:xfrm>
          <a:prstGeom prst="rect">
            <a:avLst/>
          </a:prstGeom>
          <a:solidFill>
            <a:schemeClr val="tx2"/>
          </a:solidFill>
          <a:ln w="190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5000"/>
              </a:lnSpc>
            </a:pPr>
            <a:endParaRPr lang="da-DK" sz="1200" noProof="0" dirty="0" err="1"/>
          </a:p>
        </p:txBody>
      </p:sp>
      <p:sp>
        <p:nvSpPr>
          <p:cNvPr id="2096" name="Ligebenet trekant 2095"/>
          <p:cNvSpPr/>
          <p:nvPr>
            <p:custDataLst>
              <p:tags r:id="rId34"/>
            </p:custDataLst>
          </p:nvPr>
        </p:nvSpPr>
        <p:spPr bwMode="gray">
          <a:xfrm>
            <a:off x="8145463" y="5281613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5000"/>
              </a:lnSpc>
            </a:pPr>
            <a:endParaRPr lang="da-DK" sz="1200" noProof="0" dirty="0" err="1"/>
          </a:p>
        </p:txBody>
      </p:sp>
      <p:sp>
        <p:nvSpPr>
          <p:cNvPr id="2094" name="Ligebenet trekant 2093"/>
          <p:cNvSpPr/>
          <p:nvPr>
            <p:custDataLst>
              <p:tags r:id="rId35"/>
            </p:custDataLst>
          </p:nvPr>
        </p:nvSpPr>
        <p:spPr bwMode="gray">
          <a:xfrm>
            <a:off x="6796088" y="5281613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5000"/>
              </a:lnSpc>
            </a:pPr>
            <a:endParaRPr lang="da-DK" sz="1200" noProof="0" dirty="0" err="1"/>
          </a:p>
        </p:txBody>
      </p:sp>
      <p:sp>
        <p:nvSpPr>
          <p:cNvPr id="2092" name="Ligebenet trekant 2091"/>
          <p:cNvSpPr/>
          <p:nvPr>
            <p:custDataLst>
              <p:tags r:id="rId36"/>
            </p:custDataLst>
          </p:nvPr>
        </p:nvSpPr>
        <p:spPr bwMode="gray">
          <a:xfrm>
            <a:off x="5461000" y="5281613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5000"/>
              </a:lnSpc>
            </a:pPr>
            <a:endParaRPr lang="da-DK" sz="1200" noProof="0" dirty="0" err="1"/>
          </a:p>
        </p:txBody>
      </p:sp>
      <p:sp>
        <p:nvSpPr>
          <p:cNvPr id="2089" name="Ligebenet trekant 2088"/>
          <p:cNvSpPr/>
          <p:nvPr>
            <p:custDataLst>
              <p:tags r:id="rId37"/>
            </p:custDataLst>
          </p:nvPr>
        </p:nvSpPr>
        <p:spPr bwMode="gray">
          <a:xfrm>
            <a:off x="4140200" y="5281613"/>
            <a:ext cx="114300" cy="1143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5000"/>
              </a:lnSpc>
            </a:pPr>
            <a:endParaRPr lang="da-DK" sz="1200" noProof="0" dirty="0" err="1"/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92137" y="3957638"/>
            <a:ext cx="1709738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8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noProof="0" dirty="0" smtClean="0">
                <a:sym typeface="+mn-lt"/>
              </a:rPr>
              <a:t>UCPH | WP3: </a:t>
            </a:r>
            <a:r>
              <a:rPr lang="da-DK" noProof="0" dirty="0" err="1" smtClean="0">
                <a:sym typeface="+mn-lt"/>
              </a:rPr>
              <a:t>Mapping</a:t>
            </a:r>
            <a:endParaRPr lang="da-DK" noProof="0" dirty="0">
              <a:sym typeface="+mn-lt"/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92138" y="4614863"/>
            <a:ext cx="216535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8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noProof="0" dirty="0" smtClean="0">
                <a:sym typeface="+mn-lt"/>
              </a:rPr>
              <a:t>DEMA | WP4: </a:t>
            </a:r>
            <a:r>
              <a:rPr lang="da-DK" noProof="0" dirty="0" err="1" smtClean="0">
                <a:sym typeface="+mn-lt"/>
              </a:rPr>
              <a:t>Dissemination</a:t>
            </a:r>
            <a:endParaRPr lang="da-DK" noProof="0" dirty="0" smtClean="0">
              <a:sym typeface="+mn-lt"/>
            </a:endParaRPr>
          </a:p>
        </p:txBody>
      </p:sp>
      <p:sp useBgFill="1">
        <p:nvSpPr>
          <p:cNvPr id="159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7745413" y="5418138"/>
            <a:ext cx="914400" cy="45720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8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dirty="0" err="1" smtClean="0"/>
              <a:t>Launch</a:t>
            </a:r>
            <a:endParaRPr lang="da-DK" altLang="en-US" dirty="0" smtClean="0"/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23B018-0324-4D9D-BBD3-6854D7C71711}" type="datetime'''3''''''0''''''''''''''-0''''''9''''''-2021'''''''''''''''''">
              <a:rPr lang="da-DK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-09-2021</a:t>
            </a:fld>
            <a:endParaRPr lang="da-DK" noProof="0" dirty="0">
              <a:sym typeface="+mn-lt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92138" y="1855788"/>
            <a:ext cx="649288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88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b="1" dirty="0" smtClean="0">
                <a:sym typeface="+mn-lt"/>
              </a:rPr>
              <a:t>Activity</a:t>
            </a:r>
            <a:endParaRPr lang="da-DK" b="1" noProof="0" dirty="0">
              <a:sym typeface="+mn-lt"/>
            </a:endParaRPr>
          </a:p>
        </p:txBody>
      </p:sp>
      <p:sp useBgFill="1">
        <p:nvSpPr>
          <p:cNvPr id="148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3630613" y="5418138"/>
            <a:ext cx="1133475" cy="45720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8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dirty="0" smtClean="0"/>
              <a:t>Data set </a:t>
            </a:r>
            <a:r>
              <a:rPr lang="da-DK" altLang="en-US" dirty="0" err="1" smtClean="0"/>
              <a:t>ready</a:t>
            </a:r>
            <a:endParaRPr lang="da-DK" altLang="en-US" dirty="0" smtClean="0"/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665030-1483-4866-B1B8-F12207F59CCE}" type="datetime'''''0''''''1-''''0''''''''1''-''''''''''''''20''''2''''1'">
              <a:rPr lang="da-DK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1-01-2021</a:t>
            </a:fld>
            <a:endParaRPr lang="da-DK" noProof="0" dirty="0">
              <a:sym typeface="+mn-lt"/>
            </a:endParaRPr>
          </a:p>
        </p:txBody>
      </p:sp>
      <p:sp useBgFill="1">
        <p:nvSpPr>
          <p:cNvPr id="156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6254750" y="5418138"/>
            <a:ext cx="1198563" cy="45720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8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dirty="0" smtClean="0"/>
              <a:t>Model </a:t>
            </a:r>
            <a:r>
              <a:rPr lang="da-DK" altLang="en-US" dirty="0" err="1" smtClean="0"/>
              <a:t>complete</a:t>
            </a:r>
            <a:endParaRPr lang="da-DK" altLang="en-US" dirty="0" smtClean="0"/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D256FC-BBF5-4D2D-B0CA-FBDEA5F1377A}" type="datetime'''''01''-0''''''''''''''''''''7-''''''''''''2''''''0''21'''''">
              <a:rPr lang="da-DK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1-07-2021</a:t>
            </a:fld>
            <a:endParaRPr lang="da-DK" noProof="0" dirty="0">
              <a:sym typeface="+mn-lt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592138" y="3086100"/>
            <a:ext cx="2195513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8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dirty="0" smtClean="0">
                <a:sym typeface="+mn-lt"/>
              </a:rPr>
              <a:t>UCPH | WP2: Data </a:t>
            </a:r>
            <a:r>
              <a:rPr lang="da-DK" altLang="en-US" dirty="0" err="1" smtClean="0">
                <a:sym typeface="+mn-lt"/>
              </a:rPr>
              <a:t>collection</a:t>
            </a:r>
            <a:endParaRPr lang="da-DK" altLang="en-US" dirty="0" smtClean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592138" y="2428875"/>
            <a:ext cx="21336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8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dirty="0" smtClean="0">
                <a:sym typeface="+mn-lt"/>
              </a:rPr>
              <a:t>DEMA | WP1: Management </a:t>
            </a:r>
            <a:endParaRPr lang="da-DK" noProof="0" dirty="0">
              <a:sym typeface="+mn-lt"/>
            </a:endParaRPr>
          </a:p>
        </p:txBody>
      </p:sp>
      <p:sp useBgFill="1">
        <p:nvSpPr>
          <p:cNvPr id="153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4949825" y="5418138"/>
            <a:ext cx="1136650" cy="45720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88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685800" rtl="0" eaLnBrk="1" latinLnBrk="0" hangingPunct="1">
              <a:lnSpc>
                <a:spcPct val="125000"/>
              </a:lnSpc>
              <a:spcBef>
                <a:spcPts val="1800"/>
              </a:spcBef>
              <a:buFont typeface="Verdana" panose="020B0604030504040204" pitchFamily="34" charset="0"/>
              <a:buChar char="●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dirty="0"/>
              <a:t>U</a:t>
            </a:r>
            <a:r>
              <a:rPr lang="da-DK" altLang="en-US" dirty="0" smtClean="0"/>
              <a:t>ser workshop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657CFB-74E8-4D78-A0E4-B31E23EC36C1}" type="datetime'''01''-''''''''0''''''4''''''-2''''''0''''''2''''''''''1'">
              <a:rPr lang="da-DK" altLang="en-US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1-04-2021</a:t>
            </a:fld>
            <a:endParaRPr lang="da-DK" noProof="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64607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0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E6ZOJvDbABO0F_Be.e3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pbjca5DaP7Pw3D9qdT1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VnlSJm5w1fS3KXaHUqT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fpvJrxFPFsUDWNoZVIh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PaPL6QZLmWNPSnNoUgk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EFJULWJ7B6MRnibeWF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dm7Axvoudae34PqLHy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4SwgysXd0.hhne.jYkT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KqplGRKZekCThEc7FcL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qLQ0ijthMN_6iH7S.W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oNE9OxiHEfJFODTqaoz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hXEQ9ATWZdwAgJeODT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iO7FO9vVEgeWvpSFLeY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a4K_DfRwsahRircAO3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M5U6clUI_7c7hJeFdtI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y_lYm1r2s5B8LbZQW0c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HnETKjZ.2_VKauymGOt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65TOJgSAq6DSqwX8nu0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Hs8b5Afei1dagpLk7uA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AOqBgidc9p_wEd4ldG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Kt1Arf9x5x1vIRJONOr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5qI.EC1O8Ihz6i2u.z7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Qtf5mTYwUXcqOCqJpT7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8Ub2BvReI6FrdaPbY1M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DzY7qi0uMrNqaF_HRfY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.KXQJW77eOJuGGdBSjV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I_4c8gW3xF28LkKVKBH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HZLEmHTlHbHOuzJj4lQ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5vOP8eew5Ir7ECjPCNk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cPm2a1fh2fTNKtbqQD8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ueEfh3KXkk5H0184zD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ek6Pi.TEGh1vC8e.lpD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VCGyp7DTltm3jF7Qywd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8ll6iNgSxQ35U0uTEmo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ShONKTyxE7BsffLN27B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Vy4hQqJS_4s2l9gAW7f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BN1JsYlOmgswyw9eCbj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p_TRCPAP5hAsIMOqx2i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QVoklwk9RUnORts3LXg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dMFq_vDKQ1VIQNNRn69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e9jdF4r9vPut8.0ln.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0zxhDAk5NM7DzP4Je3b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GFd9Ic99cFRnVQkC98Q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SOl.lYHeE3w.yhmQ8_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vcnjKiHVSe5iEVEXIPmw"/>
</p:tagLst>
</file>

<file path=ppt/theme/theme1.xml><?xml version="1.0" encoding="utf-8"?>
<a:theme xmlns:a="http://schemas.openxmlformats.org/drawingml/2006/main" name="Powerpoint-Beredskabsstyrelsen-Birkeroed-Office-2010">
  <a:themeElements>
    <a:clrScheme name="BRS">
      <a:dk1>
        <a:sysClr val="windowText" lastClr="000000"/>
      </a:dk1>
      <a:lt1>
        <a:sysClr val="window" lastClr="FFFFFF"/>
      </a:lt1>
      <a:dk2>
        <a:srgbClr val="002855"/>
      </a:dk2>
      <a:lt2>
        <a:srgbClr val="F5821E"/>
      </a:lt2>
      <a:accent1>
        <a:srgbClr val="597E50"/>
      </a:accent1>
      <a:accent2>
        <a:srgbClr val="489FD8"/>
      </a:accent2>
      <a:accent3>
        <a:srgbClr val="3F5C59"/>
      </a:accent3>
      <a:accent4>
        <a:srgbClr val="C8102E"/>
      </a:accent4>
      <a:accent5>
        <a:srgbClr val="8D1B3D"/>
      </a:accent5>
      <a:accent6>
        <a:srgbClr val="000000"/>
      </a:accent6>
      <a:hlink>
        <a:srgbClr val="3F5C59"/>
      </a:hlink>
      <a:folHlink>
        <a:srgbClr val="3F5C59"/>
      </a:folHlink>
    </a:clrScheme>
    <a:fontScheme name="Forsvarsministerie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25000"/>
          </a:lnSpc>
          <a:defRPr sz="12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25000"/>
          </a:lnSpc>
          <a:defRPr sz="12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on1" id="{5C0D8F3C-6447-0A43-B4DE-9C30410A9764}" vid="{6EFC1ABC-5D73-404E-B799-81DE3FCDFA43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3131E3C33B8A240AB35715019947DC2" ma:contentTypeVersion="1" ma:contentTypeDescription="Opret et nyt dokument." ma:contentTypeScope="" ma:versionID="cf683384c9073a24c236fa672fcaf591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a771c543922ac300dcdb45e1d95f229d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tartdato for planlægning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lutdato for planlægning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897BED3-E303-4C94-A47D-B20C876E799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AB65B3D-0059-42F5-B59F-557E9A58F240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sharepoint/v3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841E1B7-067D-4227-A261-659CABE706F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07</TotalTime>
  <Words>147</Words>
  <Application>Microsoft Office PowerPoint</Application>
  <PresentationFormat>Skærmshow (4:3)</PresentationFormat>
  <Paragraphs>64</Paragraphs>
  <Slides>4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Diastitler</vt:lpstr>
      </vt:variant>
      <vt:variant>
        <vt:i4>4</vt:i4>
      </vt:variant>
    </vt:vector>
  </HeadingPairs>
  <TitlesOfParts>
    <vt:vector size="6" baseType="lpstr">
      <vt:lpstr>Powerpoint-Beredskabsstyrelsen-Birkeroed-Office-2010</vt:lpstr>
      <vt:lpstr>think-cell Slide</vt:lpstr>
      <vt:lpstr>Aid to Prioritize Fire Prevention Efforts</vt:lpstr>
      <vt:lpstr>PowerPoint-præsentation</vt:lpstr>
      <vt:lpstr>PowerPoint-præsentation</vt:lpstr>
      <vt:lpstr>PowerPoint-præsentation</vt:lpstr>
    </vt:vector>
  </TitlesOfParts>
  <Company>Forsvarets koncernfælles Informatiktjenes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BRS-KOM-12 Krummes, Karsten</dc:creator>
  <cp:lastModifiedBy>BRS-RJE Jenle, Rasmus Ploug</cp:lastModifiedBy>
  <cp:revision>70</cp:revision>
  <dcterms:created xsi:type="dcterms:W3CDTF">2018-02-09T11:48:56Z</dcterms:created>
  <dcterms:modified xsi:type="dcterms:W3CDTF">2020-11-12T10:28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ContentTypeId">
    <vt:lpwstr>0x010100B3131E3C33B8A240AB35715019947DC2</vt:lpwstr>
  </property>
  <property fmtid="{D5CDD505-2E9C-101B-9397-08002B2CF9AE}" pid="4" name="TitusGUID">
    <vt:lpwstr>60643459-ebd4-4716-9917-7bec3e5a936b</vt:lpwstr>
  </property>
  <property fmtid="{D5CDD505-2E9C-101B-9397-08002B2CF9AE}" pid="5" name="Klassifikation">
    <vt:lpwstr>IKKE KLASSIFICERET</vt:lpwstr>
  </property>
  <property fmtid="{D5CDD505-2E9C-101B-9397-08002B2CF9AE}" pid="6" name="Maerkning">
    <vt:lpwstr/>
  </property>
</Properties>
</file>